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682" r:id="rId1"/>
    <p:sldMasterId id="2147487758" r:id="rId2"/>
    <p:sldMasterId id="2147487759" r:id="rId3"/>
    <p:sldMasterId id="2147487760" r:id="rId4"/>
  </p:sldMasterIdLst>
  <p:notesMasterIdLst>
    <p:notesMasterId r:id="rId37"/>
  </p:notesMasterIdLst>
  <p:handoutMasterIdLst>
    <p:handoutMasterId r:id="rId38"/>
  </p:handoutMasterIdLst>
  <p:sldIdLst>
    <p:sldId id="2438" r:id="rId5"/>
    <p:sldId id="2439" r:id="rId6"/>
    <p:sldId id="2422" r:id="rId7"/>
    <p:sldId id="2458" r:id="rId8"/>
    <p:sldId id="2454" r:id="rId9"/>
    <p:sldId id="2440" r:id="rId10"/>
    <p:sldId id="2423" r:id="rId11"/>
    <p:sldId id="2424" r:id="rId12"/>
    <p:sldId id="2335" r:id="rId13"/>
    <p:sldId id="2459" r:id="rId14"/>
    <p:sldId id="2443" r:id="rId15"/>
    <p:sldId id="2444" r:id="rId16"/>
    <p:sldId id="2445" r:id="rId17"/>
    <p:sldId id="2446" r:id="rId18"/>
    <p:sldId id="2425" r:id="rId19"/>
    <p:sldId id="2447" r:id="rId20"/>
    <p:sldId id="2427" r:id="rId21"/>
    <p:sldId id="2448" r:id="rId22"/>
    <p:sldId id="2449" r:id="rId23"/>
    <p:sldId id="2450" r:id="rId24"/>
    <p:sldId id="2451" r:id="rId25"/>
    <p:sldId id="2452" r:id="rId26"/>
    <p:sldId id="2428" r:id="rId27"/>
    <p:sldId id="2430" r:id="rId28"/>
    <p:sldId id="2455" r:id="rId29"/>
    <p:sldId id="2431" r:id="rId30"/>
    <p:sldId id="2453" r:id="rId31"/>
    <p:sldId id="2433" r:id="rId32"/>
    <p:sldId id="2456" r:id="rId33"/>
    <p:sldId id="2398" r:id="rId34"/>
    <p:sldId id="2457" r:id="rId35"/>
    <p:sldId id="2437" r:id="rId36"/>
  </p:sldIdLst>
  <p:sldSz cx="9144000" cy="6858000" type="screen4x3"/>
  <p:notesSz cx="6797675" cy="9926638"/>
  <p:custDataLst>
    <p:tags r:id="rId39"/>
  </p:custDataLst>
  <p:defaultTextStyle>
    <a:defPPr>
      <a:defRPr lang="zh-CN"/>
    </a:defPPr>
    <a:lvl1pPr algn="l" rtl="0" fontAlgn="base">
      <a:spcBef>
        <a:spcPct val="0"/>
      </a:spcBef>
      <a:spcAft>
        <a:spcPct val="0"/>
      </a:spcAft>
      <a:defRPr sz="1200" b="1" kern="1200">
        <a:solidFill>
          <a:schemeClr val="tx1"/>
        </a:solidFill>
        <a:latin typeface="微软雅黑" pitchFamily="34" charset="-122"/>
        <a:ea typeface="微软雅黑" pitchFamily="34" charset="-122"/>
        <a:cs typeface="+mn-cs"/>
      </a:defRPr>
    </a:lvl1pPr>
    <a:lvl2pPr marL="457200" algn="l" rtl="0" fontAlgn="base">
      <a:spcBef>
        <a:spcPct val="0"/>
      </a:spcBef>
      <a:spcAft>
        <a:spcPct val="0"/>
      </a:spcAft>
      <a:defRPr sz="1200" b="1" kern="1200">
        <a:solidFill>
          <a:schemeClr val="tx1"/>
        </a:solidFill>
        <a:latin typeface="微软雅黑" pitchFamily="34" charset="-122"/>
        <a:ea typeface="微软雅黑" pitchFamily="34" charset="-122"/>
        <a:cs typeface="+mn-cs"/>
      </a:defRPr>
    </a:lvl2pPr>
    <a:lvl3pPr marL="914400" algn="l" rtl="0" fontAlgn="base">
      <a:spcBef>
        <a:spcPct val="0"/>
      </a:spcBef>
      <a:spcAft>
        <a:spcPct val="0"/>
      </a:spcAft>
      <a:defRPr sz="1200" b="1" kern="1200">
        <a:solidFill>
          <a:schemeClr val="tx1"/>
        </a:solidFill>
        <a:latin typeface="微软雅黑" pitchFamily="34" charset="-122"/>
        <a:ea typeface="微软雅黑" pitchFamily="34" charset="-122"/>
        <a:cs typeface="+mn-cs"/>
      </a:defRPr>
    </a:lvl3pPr>
    <a:lvl4pPr marL="1371600" algn="l" rtl="0" fontAlgn="base">
      <a:spcBef>
        <a:spcPct val="0"/>
      </a:spcBef>
      <a:spcAft>
        <a:spcPct val="0"/>
      </a:spcAft>
      <a:defRPr sz="1200" b="1" kern="1200">
        <a:solidFill>
          <a:schemeClr val="tx1"/>
        </a:solidFill>
        <a:latin typeface="微软雅黑" pitchFamily="34" charset="-122"/>
        <a:ea typeface="微软雅黑" pitchFamily="34" charset="-122"/>
        <a:cs typeface="+mn-cs"/>
      </a:defRPr>
    </a:lvl4pPr>
    <a:lvl5pPr marL="1828800" algn="l" rtl="0" fontAlgn="base">
      <a:spcBef>
        <a:spcPct val="0"/>
      </a:spcBef>
      <a:spcAft>
        <a:spcPct val="0"/>
      </a:spcAft>
      <a:defRPr sz="1200" b="1" kern="1200">
        <a:solidFill>
          <a:schemeClr val="tx1"/>
        </a:solidFill>
        <a:latin typeface="微软雅黑" pitchFamily="34" charset="-122"/>
        <a:ea typeface="微软雅黑" pitchFamily="34" charset="-122"/>
        <a:cs typeface="+mn-cs"/>
      </a:defRPr>
    </a:lvl5pPr>
    <a:lvl6pPr marL="2286000" algn="l" defTabSz="914400" rtl="0" eaLnBrk="1" latinLnBrk="0" hangingPunct="1">
      <a:defRPr sz="1200" b="1" kern="1200">
        <a:solidFill>
          <a:schemeClr val="tx1"/>
        </a:solidFill>
        <a:latin typeface="微软雅黑" pitchFamily="34" charset="-122"/>
        <a:ea typeface="微软雅黑" pitchFamily="34" charset="-122"/>
        <a:cs typeface="+mn-cs"/>
      </a:defRPr>
    </a:lvl6pPr>
    <a:lvl7pPr marL="2743200" algn="l" defTabSz="914400" rtl="0" eaLnBrk="1" latinLnBrk="0" hangingPunct="1">
      <a:defRPr sz="1200" b="1" kern="1200">
        <a:solidFill>
          <a:schemeClr val="tx1"/>
        </a:solidFill>
        <a:latin typeface="微软雅黑" pitchFamily="34" charset="-122"/>
        <a:ea typeface="微软雅黑" pitchFamily="34" charset="-122"/>
        <a:cs typeface="+mn-cs"/>
      </a:defRPr>
    </a:lvl7pPr>
    <a:lvl8pPr marL="3200400" algn="l" defTabSz="914400" rtl="0" eaLnBrk="1" latinLnBrk="0" hangingPunct="1">
      <a:defRPr sz="1200" b="1" kern="1200">
        <a:solidFill>
          <a:schemeClr val="tx1"/>
        </a:solidFill>
        <a:latin typeface="微软雅黑" pitchFamily="34" charset="-122"/>
        <a:ea typeface="微软雅黑" pitchFamily="34" charset="-122"/>
        <a:cs typeface="+mn-cs"/>
      </a:defRPr>
    </a:lvl8pPr>
    <a:lvl9pPr marL="3657600" algn="l" defTabSz="914400" rtl="0" eaLnBrk="1" latinLnBrk="0" hangingPunct="1">
      <a:defRPr sz="1200" b="1" kern="1200">
        <a:solidFill>
          <a:schemeClr val="tx1"/>
        </a:solidFill>
        <a:latin typeface="微软雅黑" pitchFamily="34" charset="-122"/>
        <a:ea typeface="微软雅黑" pitchFamily="34"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3366"/>
    <a:srgbClr val="CBECDE"/>
    <a:srgbClr val="CBF6EF"/>
    <a:srgbClr val="E7F6EF"/>
    <a:srgbClr val="D9FFFF"/>
    <a:srgbClr val="FF0000"/>
    <a:srgbClr val="99CCFF"/>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E9639D4-E3E2-4D34-9284-5A2195B3D0D7}" styleName="浅色样式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浅色样式 2 - 强调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B344D84-9AFB-497E-A393-DC336BA19D2E}" styleName="中度样式 3 - 强调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20079" autoAdjust="0"/>
    <p:restoredTop sz="84615" autoAdjust="0"/>
  </p:normalViewPr>
  <p:slideViewPr>
    <p:cSldViewPr>
      <p:cViewPr varScale="1">
        <p:scale>
          <a:sx n="61" d="100"/>
          <a:sy n="61" d="100"/>
        </p:scale>
        <p:origin x="-1050" y="-78"/>
      </p:cViewPr>
      <p:guideLst>
        <p:guide orient="horz" pos="4292"/>
        <p:guide pos="129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7" d="100"/>
        <a:sy n="87" d="100"/>
      </p:scale>
      <p:origin x="0" y="7122"/>
    </p:cViewPr>
  </p:sorterViewPr>
  <p:notesViewPr>
    <p:cSldViewPr>
      <p:cViewPr varScale="1">
        <p:scale>
          <a:sx n="53" d="100"/>
          <a:sy n="53" d="100"/>
        </p:scale>
        <p:origin x="-2712" y="-10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3.emf"/><Relationship Id="rId1" Type="http://schemas.openxmlformats.org/officeDocument/2006/relationships/image" Target="../media/image32.emf"/><Relationship Id="rId4"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image" Target="NULL"/><Relationship Id="rId4" Type="http://schemas.openxmlformats.org/officeDocument/2006/relationships/image" Target="../media/image59.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0594" name="Rectangle 2"/>
          <p:cNvSpPr>
            <a:spLocks noGrp="1" noChangeArrowheads="1"/>
          </p:cNvSpPr>
          <p:nvPr>
            <p:ph type="hdr" sz="quarter"/>
          </p:nvPr>
        </p:nvSpPr>
        <p:spPr bwMode="auto">
          <a:xfrm>
            <a:off x="0" y="0"/>
            <a:ext cx="2946400" cy="495300"/>
          </a:xfrm>
          <a:prstGeom prst="rect">
            <a:avLst/>
          </a:prstGeom>
          <a:noFill/>
          <a:ln w="9525">
            <a:noFill/>
            <a:miter lim="800000"/>
            <a:headEnd/>
            <a:tailEnd/>
          </a:ln>
        </p:spPr>
        <p:txBody>
          <a:bodyPr vert="horz" wrap="square" lIns="91989" tIns="45995" rIns="91989" bIns="45995" numCol="1" anchor="t" anchorCtr="0" compatLnSpc="1">
            <a:prstTxWarp prst="textNoShape">
              <a:avLst/>
            </a:prstTxWarp>
          </a:bodyPr>
          <a:lstStyle>
            <a:lvl1pPr algn="l" defTabSz="920750" eaLnBrk="0" hangingPunct="0">
              <a:lnSpc>
                <a:spcPct val="100000"/>
              </a:lnSpc>
              <a:spcBef>
                <a:spcPct val="0"/>
              </a:spcBef>
              <a:buClrTx/>
              <a:buFontTx/>
              <a:buNone/>
              <a:defRPr kumimoji="1" sz="1200" b="1">
                <a:latin typeface="黑体" pitchFamily="2" charset="-122"/>
                <a:ea typeface="黑体" pitchFamily="2" charset="-122"/>
                <a:cs typeface="+mn-cs"/>
              </a:defRPr>
            </a:lvl1pPr>
          </a:lstStyle>
          <a:p>
            <a:pPr>
              <a:defRPr/>
            </a:pPr>
            <a:endParaRPr lang="zh-CN" altLang="en-US"/>
          </a:p>
        </p:txBody>
      </p:sp>
      <p:sp>
        <p:nvSpPr>
          <p:cNvPr id="110595" name="Rectangle 3"/>
          <p:cNvSpPr>
            <a:spLocks noGrp="1" noChangeArrowheads="1"/>
          </p:cNvSpPr>
          <p:nvPr>
            <p:ph type="dt" sz="quarter" idx="1"/>
          </p:nvPr>
        </p:nvSpPr>
        <p:spPr bwMode="auto">
          <a:xfrm>
            <a:off x="3849688" y="0"/>
            <a:ext cx="2946400" cy="495300"/>
          </a:xfrm>
          <a:prstGeom prst="rect">
            <a:avLst/>
          </a:prstGeom>
          <a:noFill/>
          <a:ln w="9525">
            <a:noFill/>
            <a:miter lim="800000"/>
            <a:headEnd/>
            <a:tailEnd/>
          </a:ln>
        </p:spPr>
        <p:txBody>
          <a:bodyPr vert="horz" wrap="square" lIns="91989" tIns="45995" rIns="91989" bIns="45995" numCol="1" anchor="t" anchorCtr="0" compatLnSpc="1">
            <a:prstTxWarp prst="textNoShape">
              <a:avLst/>
            </a:prstTxWarp>
          </a:bodyPr>
          <a:lstStyle>
            <a:lvl1pPr algn="r" defTabSz="920750" eaLnBrk="0" hangingPunct="0">
              <a:lnSpc>
                <a:spcPct val="100000"/>
              </a:lnSpc>
              <a:spcBef>
                <a:spcPct val="0"/>
              </a:spcBef>
              <a:buClrTx/>
              <a:buFontTx/>
              <a:buNone/>
              <a:defRPr kumimoji="1" sz="1200" b="1">
                <a:latin typeface="黑体" pitchFamily="2" charset="-122"/>
                <a:ea typeface="黑体" pitchFamily="2" charset="-122"/>
                <a:cs typeface="+mn-cs"/>
              </a:defRPr>
            </a:lvl1pPr>
          </a:lstStyle>
          <a:p>
            <a:pPr>
              <a:defRPr/>
            </a:pPr>
            <a:fld id="{00C53D79-687B-46B8-8B64-00430289FF8D}" type="datetimeFigureOut">
              <a:rPr lang="zh-CN" altLang="en-US"/>
              <a:pPr>
                <a:defRPr/>
              </a:pPr>
              <a:t>2019/1/23</a:t>
            </a:fld>
            <a:endParaRPr lang="en-US" altLang="zh-CN"/>
          </a:p>
        </p:txBody>
      </p:sp>
      <p:sp>
        <p:nvSpPr>
          <p:cNvPr id="110596" name="Rectangle 4"/>
          <p:cNvSpPr>
            <a:spLocks noGrp="1" noChangeArrowheads="1"/>
          </p:cNvSpPr>
          <p:nvPr>
            <p:ph type="ftr" sz="quarter" idx="2"/>
          </p:nvPr>
        </p:nvSpPr>
        <p:spPr bwMode="auto">
          <a:xfrm>
            <a:off x="0" y="9429750"/>
            <a:ext cx="2946400" cy="495300"/>
          </a:xfrm>
          <a:prstGeom prst="rect">
            <a:avLst/>
          </a:prstGeom>
          <a:noFill/>
          <a:ln w="9525">
            <a:noFill/>
            <a:miter lim="800000"/>
            <a:headEnd/>
            <a:tailEnd/>
          </a:ln>
        </p:spPr>
        <p:txBody>
          <a:bodyPr vert="horz" wrap="square" lIns="91989" tIns="45995" rIns="91989" bIns="45995" numCol="1" anchor="b" anchorCtr="0" compatLnSpc="1">
            <a:prstTxWarp prst="textNoShape">
              <a:avLst/>
            </a:prstTxWarp>
          </a:bodyPr>
          <a:lstStyle>
            <a:lvl1pPr algn="l" defTabSz="920750" eaLnBrk="0" hangingPunct="0">
              <a:lnSpc>
                <a:spcPct val="100000"/>
              </a:lnSpc>
              <a:spcBef>
                <a:spcPct val="0"/>
              </a:spcBef>
              <a:buClrTx/>
              <a:buFontTx/>
              <a:buNone/>
              <a:defRPr kumimoji="1" sz="1200" b="1">
                <a:latin typeface="黑体" pitchFamily="2" charset="-122"/>
                <a:ea typeface="黑体" pitchFamily="2" charset="-122"/>
                <a:cs typeface="+mn-cs"/>
              </a:defRPr>
            </a:lvl1pPr>
          </a:lstStyle>
          <a:p>
            <a:pPr>
              <a:defRPr/>
            </a:pPr>
            <a:endParaRPr lang="en-US" altLang="zh-CN"/>
          </a:p>
        </p:txBody>
      </p:sp>
      <p:sp>
        <p:nvSpPr>
          <p:cNvPr id="110597" name="Rectangle 5"/>
          <p:cNvSpPr>
            <a:spLocks noGrp="1" noChangeArrowheads="1"/>
          </p:cNvSpPr>
          <p:nvPr>
            <p:ph type="sldNum" sz="quarter" idx="3"/>
          </p:nvPr>
        </p:nvSpPr>
        <p:spPr bwMode="auto">
          <a:xfrm>
            <a:off x="3849688" y="9429750"/>
            <a:ext cx="2946400" cy="495300"/>
          </a:xfrm>
          <a:prstGeom prst="rect">
            <a:avLst/>
          </a:prstGeom>
          <a:noFill/>
          <a:ln w="9525">
            <a:noFill/>
            <a:miter lim="800000"/>
            <a:headEnd/>
            <a:tailEnd/>
          </a:ln>
        </p:spPr>
        <p:txBody>
          <a:bodyPr vert="horz" wrap="square" lIns="91989" tIns="45995" rIns="91989" bIns="45995" numCol="1" anchor="b" anchorCtr="0" compatLnSpc="1">
            <a:prstTxWarp prst="textNoShape">
              <a:avLst/>
            </a:prstTxWarp>
          </a:bodyPr>
          <a:lstStyle>
            <a:lvl1pPr algn="r" defTabSz="920750" eaLnBrk="0" hangingPunct="0">
              <a:lnSpc>
                <a:spcPct val="100000"/>
              </a:lnSpc>
              <a:spcBef>
                <a:spcPct val="0"/>
              </a:spcBef>
              <a:buClrTx/>
              <a:buFontTx/>
              <a:buNone/>
              <a:defRPr kumimoji="1" sz="1200" b="1">
                <a:latin typeface="黑体" pitchFamily="2" charset="-122"/>
                <a:ea typeface="黑体" pitchFamily="2" charset="-122"/>
                <a:cs typeface="+mn-cs"/>
              </a:defRPr>
            </a:lvl1pPr>
          </a:lstStyle>
          <a:p>
            <a:pPr>
              <a:defRPr/>
            </a:pPr>
            <a:fld id="{DA9EF58F-391D-4244-9664-69339809DFF3}" type="slidenum">
              <a:rPr lang="zh-CN" altLang="en-US"/>
              <a:pPr>
                <a:defRPr/>
              </a:pPr>
              <a:t>‹#›</a:t>
            </a:fld>
            <a:endParaRPr lang="en-US" altLang="zh-CN"/>
          </a:p>
        </p:txBody>
      </p:sp>
    </p:spTree>
    <p:extLst>
      <p:ext uri="{BB962C8B-B14F-4D97-AF65-F5344CB8AC3E}">
        <p14:creationId xmlns:p14="http://schemas.microsoft.com/office/powerpoint/2010/main" val="26178335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0" y="0"/>
            <a:ext cx="2946400" cy="495300"/>
          </a:xfrm>
          <a:prstGeom prst="rect">
            <a:avLst/>
          </a:prstGeom>
          <a:noFill/>
          <a:ln w="9525">
            <a:noFill/>
            <a:miter lim="800000"/>
            <a:headEnd/>
            <a:tailEnd/>
          </a:ln>
        </p:spPr>
        <p:txBody>
          <a:bodyPr vert="horz" wrap="square" lIns="91989" tIns="45995" rIns="91989" bIns="45995" numCol="1" anchor="t" anchorCtr="0" compatLnSpc="1">
            <a:prstTxWarp prst="textNoShape">
              <a:avLst/>
            </a:prstTxWarp>
          </a:bodyPr>
          <a:lstStyle>
            <a:lvl1pPr defTabSz="920750" eaLnBrk="1" hangingPunct="1">
              <a:lnSpc>
                <a:spcPct val="100000"/>
              </a:lnSpc>
              <a:spcBef>
                <a:spcPct val="0"/>
              </a:spcBef>
              <a:buClrTx/>
              <a:buFontTx/>
              <a:buNone/>
              <a:defRPr sz="1200" b="0">
                <a:latin typeface="Arial" pitchFamily="34" charset="0"/>
                <a:ea typeface="宋体" pitchFamily="2" charset="-122"/>
                <a:cs typeface="Tahoma" pitchFamily="34" charset="0"/>
              </a:defRPr>
            </a:lvl1pPr>
          </a:lstStyle>
          <a:p>
            <a:pPr>
              <a:defRPr/>
            </a:pPr>
            <a:endParaRPr lang="en-US" altLang="zh-CN"/>
          </a:p>
        </p:txBody>
      </p:sp>
      <p:sp>
        <p:nvSpPr>
          <p:cNvPr id="17411" name="Rectangle 3"/>
          <p:cNvSpPr>
            <a:spLocks noGrp="1" noChangeArrowheads="1"/>
          </p:cNvSpPr>
          <p:nvPr>
            <p:ph type="dt" idx="1"/>
          </p:nvPr>
        </p:nvSpPr>
        <p:spPr bwMode="auto">
          <a:xfrm>
            <a:off x="3849688" y="0"/>
            <a:ext cx="2946400" cy="495300"/>
          </a:xfrm>
          <a:prstGeom prst="rect">
            <a:avLst/>
          </a:prstGeom>
          <a:noFill/>
          <a:ln w="9525">
            <a:noFill/>
            <a:miter lim="800000"/>
            <a:headEnd/>
            <a:tailEnd/>
          </a:ln>
        </p:spPr>
        <p:txBody>
          <a:bodyPr vert="horz" wrap="square" lIns="91989" tIns="45995" rIns="91989" bIns="45995" numCol="1" anchor="t" anchorCtr="0" compatLnSpc="1">
            <a:prstTxWarp prst="textNoShape">
              <a:avLst/>
            </a:prstTxWarp>
          </a:bodyPr>
          <a:lstStyle>
            <a:lvl1pPr algn="r" defTabSz="920750" eaLnBrk="1" hangingPunct="1">
              <a:lnSpc>
                <a:spcPct val="100000"/>
              </a:lnSpc>
              <a:spcBef>
                <a:spcPct val="0"/>
              </a:spcBef>
              <a:buClrTx/>
              <a:buFontTx/>
              <a:buNone/>
              <a:defRPr sz="1200" b="0">
                <a:latin typeface="Arial" pitchFamily="34" charset="0"/>
                <a:ea typeface="宋体" pitchFamily="2" charset="-122"/>
                <a:cs typeface="Tahoma" pitchFamily="34" charset="0"/>
              </a:defRPr>
            </a:lvl1pPr>
          </a:lstStyle>
          <a:p>
            <a:pPr>
              <a:defRPr/>
            </a:pPr>
            <a:endParaRPr lang="en-US" altLang="zh-CN"/>
          </a:p>
        </p:txBody>
      </p:sp>
      <p:sp>
        <p:nvSpPr>
          <p:cNvPr id="40964" name="Rectangle 4"/>
          <p:cNvSpPr>
            <a:spLocks noGrp="1" noRot="1" noChangeAspect="1" noChangeArrowheads="1" noTextEdit="1"/>
          </p:cNvSpPr>
          <p:nvPr>
            <p:ph type="sldImg" idx="2"/>
          </p:nvPr>
        </p:nvSpPr>
        <p:spPr bwMode="auto">
          <a:xfrm>
            <a:off x="917575" y="746125"/>
            <a:ext cx="4964113" cy="37226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3" name="Rectangle 5"/>
          <p:cNvSpPr>
            <a:spLocks noGrp="1" noChangeArrowheads="1"/>
          </p:cNvSpPr>
          <p:nvPr>
            <p:ph type="body" sz="quarter" idx="3"/>
          </p:nvPr>
        </p:nvSpPr>
        <p:spPr bwMode="auto">
          <a:xfrm>
            <a:off x="681038" y="4714875"/>
            <a:ext cx="5437187" cy="4465638"/>
          </a:xfrm>
          <a:prstGeom prst="rect">
            <a:avLst/>
          </a:prstGeom>
          <a:noFill/>
          <a:ln w="9525">
            <a:noFill/>
            <a:miter lim="800000"/>
            <a:headEnd/>
            <a:tailEnd/>
          </a:ln>
        </p:spPr>
        <p:txBody>
          <a:bodyPr vert="horz" wrap="square" lIns="91989" tIns="45995" rIns="91989" bIns="45995" numCol="1" anchor="t" anchorCtr="0" compatLnSpc="1">
            <a:prstTxWarp prst="textNoShape">
              <a:avLst/>
            </a:prstTxWarp>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17414" name="Rectangle 6"/>
          <p:cNvSpPr>
            <a:spLocks noGrp="1" noChangeArrowheads="1"/>
          </p:cNvSpPr>
          <p:nvPr>
            <p:ph type="ftr" sz="quarter" idx="4"/>
          </p:nvPr>
        </p:nvSpPr>
        <p:spPr bwMode="auto">
          <a:xfrm>
            <a:off x="0" y="9429750"/>
            <a:ext cx="2946400" cy="495300"/>
          </a:xfrm>
          <a:prstGeom prst="rect">
            <a:avLst/>
          </a:prstGeom>
          <a:noFill/>
          <a:ln w="9525">
            <a:noFill/>
            <a:miter lim="800000"/>
            <a:headEnd/>
            <a:tailEnd/>
          </a:ln>
        </p:spPr>
        <p:txBody>
          <a:bodyPr vert="horz" wrap="square" lIns="91989" tIns="45995" rIns="91989" bIns="45995" numCol="1" anchor="b" anchorCtr="0" compatLnSpc="1">
            <a:prstTxWarp prst="textNoShape">
              <a:avLst/>
            </a:prstTxWarp>
          </a:bodyPr>
          <a:lstStyle>
            <a:lvl1pPr defTabSz="920750" eaLnBrk="1" hangingPunct="1">
              <a:lnSpc>
                <a:spcPct val="100000"/>
              </a:lnSpc>
              <a:spcBef>
                <a:spcPct val="0"/>
              </a:spcBef>
              <a:buClrTx/>
              <a:buFontTx/>
              <a:buNone/>
              <a:defRPr sz="1200" b="0">
                <a:latin typeface="Arial" pitchFamily="34" charset="0"/>
                <a:ea typeface="宋体" pitchFamily="2" charset="-122"/>
                <a:cs typeface="Tahoma" pitchFamily="34" charset="0"/>
              </a:defRPr>
            </a:lvl1pPr>
          </a:lstStyle>
          <a:p>
            <a:pPr>
              <a:defRPr/>
            </a:pPr>
            <a:endParaRPr lang="en-US" altLang="zh-CN"/>
          </a:p>
        </p:txBody>
      </p:sp>
      <p:sp>
        <p:nvSpPr>
          <p:cNvPr id="17415" name="Rectangle 7"/>
          <p:cNvSpPr>
            <a:spLocks noGrp="1" noChangeArrowheads="1"/>
          </p:cNvSpPr>
          <p:nvPr>
            <p:ph type="sldNum" sz="quarter" idx="5"/>
          </p:nvPr>
        </p:nvSpPr>
        <p:spPr bwMode="auto">
          <a:xfrm>
            <a:off x="3849688" y="9429750"/>
            <a:ext cx="2946400" cy="495300"/>
          </a:xfrm>
          <a:prstGeom prst="rect">
            <a:avLst/>
          </a:prstGeom>
          <a:noFill/>
          <a:ln w="9525">
            <a:noFill/>
            <a:miter lim="800000"/>
            <a:headEnd/>
            <a:tailEnd/>
          </a:ln>
        </p:spPr>
        <p:txBody>
          <a:bodyPr vert="horz" wrap="square" lIns="91989" tIns="45995" rIns="91989" bIns="45995" numCol="1" anchor="b" anchorCtr="0" compatLnSpc="1">
            <a:prstTxWarp prst="textNoShape">
              <a:avLst/>
            </a:prstTxWarp>
          </a:bodyPr>
          <a:lstStyle>
            <a:lvl1pPr algn="r" defTabSz="920750" eaLnBrk="1" hangingPunct="1">
              <a:lnSpc>
                <a:spcPct val="100000"/>
              </a:lnSpc>
              <a:spcBef>
                <a:spcPct val="0"/>
              </a:spcBef>
              <a:buClrTx/>
              <a:buFontTx/>
              <a:buNone/>
              <a:defRPr sz="1200" b="0">
                <a:latin typeface="Arial" pitchFamily="34" charset="0"/>
                <a:ea typeface="宋体" pitchFamily="2" charset="-122"/>
                <a:cs typeface="Tahoma" pitchFamily="34" charset="0"/>
              </a:defRPr>
            </a:lvl1pPr>
          </a:lstStyle>
          <a:p>
            <a:pPr>
              <a:defRPr/>
            </a:pPr>
            <a:fld id="{B845CA0F-389F-41EB-A85B-0C7FC50EB501}" type="slidenum">
              <a:rPr lang="en-US" altLang="zh-CN"/>
              <a:pPr>
                <a:defRPr/>
              </a:pPr>
              <a:t>‹#›</a:t>
            </a:fld>
            <a:endParaRPr lang="en-US" altLang="zh-CN"/>
          </a:p>
        </p:txBody>
      </p:sp>
    </p:spTree>
    <p:extLst>
      <p:ext uri="{BB962C8B-B14F-4D97-AF65-F5344CB8AC3E}">
        <p14:creationId xmlns:p14="http://schemas.microsoft.com/office/powerpoint/2010/main" val="121467948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宋体" pitchFamily="2" charset="-122"/>
        <a:cs typeface="+mn-cs"/>
      </a:defRPr>
    </a:lvl1pPr>
    <a:lvl2pPr marL="457200" algn="l" rtl="0" eaLnBrk="0" fontAlgn="base" hangingPunct="0">
      <a:spcBef>
        <a:spcPct val="30000"/>
      </a:spcBef>
      <a:spcAft>
        <a:spcPct val="0"/>
      </a:spcAft>
      <a:defRPr sz="1200" kern="1200">
        <a:solidFill>
          <a:schemeClr val="tx1"/>
        </a:solidFill>
        <a:latin typeface="Arial" charset="0"/>
        <a:ea typeface="宋体" pitchFamily="2" charset="-122"/>
        <a:cs typeface="+mn-cs"/>
      </a:defRPr>
    </a:lvl2pPr>
    <a:lvl3pPr marL="914400" algn="l" rtl="0" eaLnBrk="0" fontAlgn="base" hangingPunct="0">
      <a:spcBef>
        <a:spcPct val="30000"/>
      </a:spcBef>
      <a:spcAft>
        <a:spcPct val="0"/>
      </a:spcAft>
      <a:defRPr sz="1200" kern="1200">
        <a:solidFill>
          <a:schemeClr val="tx1"/>
        </a:solidFill>
        <a:latin typeface="Arial" charset="0"/>
        <a:ea typeface="宋体" pitchFamily="2" charset="-122"/>
        <a:cs typeface="+mn-cs"/>
      </a:defRPr>
    </a:lvl3pPr>
    <a:lvl4pPr marL="1371600" algn="l" rtl="0" eaLnBrk="0" fontAlgn="base" hangingPunct="0">
      <a:spcBef>
        <a:spcPct val="30000"/>
      </a:spcBef>
      <a:spcAft>
        <a:spcPct val="0"/>
      </a:spcAft>
      <a:defRPr sz="1200" kern="1200">
        <a:solidFill>
          <a:schemeClr val="tx1"/>
        </a:solidFill>
        <a:latin typeface="Arial" charset="0"/>
        <a:ea typeface="宋体" pitchFamily="2" charset="-122"/>
        <a:cs typeface="+mn-cs"/>
      </a:defRPr>
    </a:lvl4pPr>
    <a:lvl5pPr marL="1828800" algn="l" rtl="0" eaLnBrk="0" fontAlgn="base" hangingPunct="0">
      <a:spcBef>
        <a:spcPct val="30000"/>
      </a:spcBef>
      <a:spcAft>
        <a:spcPct val="0"/>
      </a:spcAft>
      <a:defRPr sz="1200" kern="1200">
        <a:solidFill>
          <a:schemeClr val="tx1"/>
        </a:solidFill>
        <a:latin typeface="Arial"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幻灯片图像占位符 1"/>
          <p:cNvSpPr>
            <a:spLocks noGrp="1" noRot="1" noChangeAspect="1" noTextEdit="1"/>
          </p:cNvSpPr>
          <p:nvPr>
            <p:ph type="sldImg"/>
          </p:nvPr>
        </p:nvSpPr>
        <p:spPr>
          <a:ln/>
        </p:spPr>
      </p:sp>
      <p:sp>
        <p:nvSpPr>
          <p:cNvPr id="41987"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smtClean="0">
                <a:latin typeface="Arial" pitchFamily="34" charset="0"/>
              </a:rPr>
              <a:t>从技术角度讲，在网络计算体系下，计算机集群可以解决服务器单机性能不够强的问题，而网格计算则解决了集群计算不支持异构设备，资源无法动态伸缩的不足。云计算则能有效解决网格计算无法同时支持异构多任务体系、无法实现资源动态流转的不足</a:t>
            </a:r>
          </a:p>
        </p:txBody>
      </p:sp>
      <p:sp>
        <p:nvSpPr>
          <p:cNvPr id="41988"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4BC27F65-5FE3-4666-BBA0-9CB988136EAC}" type="slidenum">
              <a:rPr lang="en-US" altLang="zh-CN" b="0" smtClean="0">
                <a:latin typeface="Arial" pitchFamily="34" charset="0"/>
                <a:ea typeface="宋体" pitchFamily="2" charset="-122"/>
              </a:rPr>
              <a:pPr eaLnBrk="1" hangingPunct="1"/>
              <a:t>2</a:t>
            </a:fld>
            <a:endParaRPr lang="en-US" altLang="zh-CN" b="0" smtClean="0">
              <a:latin typeface="Arial" pitchFamily="34" charset="0"/>
              <a:ea typeface="宋体" pitchFamily="2" charset="-122"/>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36A9CABC-3AAE-4FE8-B77C-E0A7BF2AC69C}" type="slidenum">
              <a:rPr lang="zh-CN" altLang="en-US" b="0" smtClean="0">
                <a:latin typeface="Arial" pitchFamily="34" charset="0"/>
                <a:ea typeface="宋体" pitchFamily="2" charset="-122"/>
              </a:rPr>
              <a:pPr eaLnBrk="1" hangingPunct="1"/>
              <a:t>18</a:t>
            </a:fld>
            <a:endParaRPr lang="en-US" altLang="zh-CN" b="0" smtClean="0">
              <a:latin typeface="Arial" pitchFamily="34" charset="0"/>
              <a:ea typeface="宋体" pitchFamily="2" charset="-122"/>
            </a:endParaRPr>
          </a:p>
        </p:txBody>
      </p:sp>
      <p:sp>
        <p:nvSpPr>
          <p:cNvPr id="51203" name="幻灯片图像占位符 1"/>
          <p:cNvSpPr>
            <a:spLocks noGrp="1" noRot="1" noChangeAspect="1" noTextEdit="1"/>
          </p:cNvSpPr>
          <p:nvPr>
            <p:ph type="sldImg"/>
          </p:nvPr>
        </p:nvSpPr>
        <p:spPr>
          <a:ln/>
        </p:spPr>
      </p:sp>
      <p:sp>
        <p:nvSpPr>
          <p:cNvPr id="51204"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zh-CN" altLang="en-US" smtClean="0">
              <a:latin typeface="Arial" pitchFamily="34" charset="0"/>
            </a:endParaRPr>
          </a:p>
        </p:txBody>
      </p:sp>
      <p:sp>
        <p:nvSpPr>
          <p:cNvPr id="51205" name="灯片编号占位符 3"/>
          <p:cNvSpPr txBox="1">
            <a:spLocks noGrp="1"/>
          </p:cNvSpPr>
          <p:nvPr/>
        </p:nvSpPr>
        <p:spPr bwMode="auto">
          <a:xfrm>
            <a:off x="3851275" y="9428163"/>
            <a:ext cx="2944813"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r" eaLnBrk="1" hangingPunct="1"/>
            <a:fld id="{2ABE117A-D90A-4561-955F-08AAD3DB2985}" type="slidenum">
              <a:rPr lang="zh-CN" altLang="en-US">
                <a:latin typeface="Arial" pitchFamily="34" charset="0"/>
                <a:ea typeface="宋体" pitchFamily="2" charset="-122"/>
              </a:rPr>
              <a:pPr algn="r" eaLnBrk="1" hangingPunct="1"/>
              <a:t>18</a:t>
            </a:fld>
            <a:endParaRPr lang="en-US" altLang="zh-CN">
              <a:latin typeface="Arial" pitchFamily="34" charset="0"/>
              <a:ea typeface="宋体" pitchFamily="2" charset="-122"/>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24C9BBFA-B2ED-4D7F-B755-7F5E01FA4591}" type="slidenum">
              <a:rPr lang="zh-CN" altLang="en-US" b="0" smtClean="0">
                <a:latin typeface="Arial" pitchFamily="34" charset="0"/>
                <a:ea typeface="宋体" pitchFamily="2" charset="-122"/>
              </a:rPr>
              <a:pPr eaLnBrk="1" hangingPunct="1"/>
              <a:t>19</a:t>
            </a:fld>
            <a:endParaRPr lang="en-US" altLang="zh-CN" b="0" smtClean="0">
              <a:latin typeface="Arial" pitchFamily="34" charset="0"/>
              <a:ea typeface="宋体" pitchFamily="2" charset="-122"/>
            </a:endParaRPr>
          </a:p>
        </p:txBody>
      </p:sp>
      <p:sp>
        <p:nvSpPr>
          <p:cNvPr id="52227" name="Rectangle 2"/>
          <p:cNvSpPr>
            <a:spLocks noRot="1" noChangeArrowheads="1" noTextEdit="1"/>
          </p:cNvSpPr>
          <p:nvPr>
            <p:ph type="sldImg"/>
          </p:nvPr>
        </p:nvSpPr>
        <p:spPr>
          <a:ln/>
        </p:spPr>
      </p:sp>
      <p:sp>
        <p:nvSpPr>
          <p:cNvPr id="522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zh-CN" b="1" smtClean="0">
                <a:latin typeface="Arial" pitchFamily="34" charset="0"/>
              </a:rPr>
              <a:t>Type I</a:t>
            </a:r>
            <a:r>
              <a:rPr lang="zh-CN" altLang="en-US" b="1" smtClean="0">
                <a:latin typeface="Arial" pitchFamily="34" charset="0"/>
              </a:rPr>
              <a:t>：裸金属架构</a:t>
            </a:r>
          </a:p>
          <a:p>
            <a:r>
              <a:rPr lang="zh-CN" altLang="en-US" smtClean="0">
                <a:latin typeface="Arial" pitchFamily="34" charset="0"/>
              </a:rPr>
              <a:t>直接将</a:t>
            </a:r>
            <a:r>
              <a:rPr lang="de-DE" altLang="zh-CN" smtClean="0">
                <a:latin typeface="Arial" pitchFamily="34" charset="0"/>
              </a:rPr>
              <a:t>VMM</a:t>
            </a:r>
            <a:r>
              <a:rPr lang="zh-CN" altLang="en-US" smtClean="0">
                <a:latin typeface="Arial" pitchFamily="34" charset="0"/>
              </a:rPr>
              <a:t>安装在服务器硬件设备中，以获得服务器的最佳性能。</a:t>
            </a:r>
            <a:r>
              <a:rPr lang="de-DE" altLang="zh-CN" smtClean="0">
                <a:latin typeface="Arial" pitchFamily="34" charset="0"/>
              </a:rPr>
              <a:t>VMware ESX Server</a:t>
            </a:r>
            <a:r>
              <a:rPr lang="zh-CN" altLang="en-US" smtClean="0">
                <a:latin typeface="Arial" pitchFamily="34" charset="0"/>
              </a:rPr>
              <a:t>、</a:t>
            </a:r>
            <a:r>
              <a:rPr lang="de-DE" altLang="zh-CN" smtClean="0">
                <a:latin typeface="Arial" pitchFamily="34" charset="0"/>
              </a:rPr>
              <a:t>Microsoft Hyper-V</a:t>
            </a:r>
            <a:r>
              <a:rPr lang="zh-CN" altLang="en-US" smtClean="0">
                <a:latin typeface="Arial" pitchFamily="34" charset="0"/>
              </a:rPr>
              <a:t>、</a:t>
            </a:r>
            <a:r>
              <a:rPr lang="de-DE" altLang="zh-CN" smtClean="0">
                <a:latin typeface="Arial" pitchFamily="34" charset="0"/>
              </a:rPr>
              <a:t>Xen</a:t>
            </a:r>
            <a:r>
              <a:rPr lang="zh-CN" altLang="en-US" smtClean="0">
                <a:latin typeface="Arial" pitchFamily="34" charset="0"/>
              </a:rPr>
              <a:t>等均属于这样的虚拟机。</a:t>
            </a:r>
          </a:p>
          <a:p>
            <a:r>
              <a:rPr lang="en-US" altLang="zh-CN" b="1" smtClean="0">
                <a:latin typeface="Arial" pitchFamily="34" charset="0"/>
              </a:rPr>
              <a:t>Type II</a:t>
            </a:r>
            <a:r>
              <a:rPr lang="zh-CN" altLang="en-US" b="1" smtClean="0">
                <a:latin typeface="Arial" pitchFamily="34" charset="0"/>
              </a:rPr>
              <a:t>：寄居架构</a:t>
            </a:r>
          </a:p>
          <a:p>
            <a:r>
              <a:rPr lang="en-US" altLang="zh-CN" smtClean="0">
                <a:latin typeface="Arial" pitchFamily="34" charset="0"/>
              </a:rPr>
              <a:t>VMM</a:t>
            </a:r>
            <a:r>
              <a:rPr lang="zh-CN" altLang="en-US" smtClean="0">
                <a:latin typeface="Arial" pitchFamily="34" charset="0"/>
              </a:rPr>
              <a:t>安装在已有的主机操作系统（</a:t>
            </a:r>
            <a:r>
              <a:rPr lang="en-US" altLang="zh-CN" smtClean="0">
                <a:latin typeface="Arial" pitchFamily="34" charset="0"/>
              </a:rPr>
              <a:t>Host OS</a:t>
            </a:r>
            <a:r>
              <a:rPr lang="zh-CN" altLang="en-US" smtClean="0">
                <a:latin typeface="Arial" pitchFamily="34" charset="0"/>
              </a:rPr>
              <a:t>，宿主操作系统）之上，通过宿主主操作系统来管理和访问各类资源。如</a:t>
            </a:r>
            <a:r>
              <a:rPr lang="en-US" altLang="zh-CN" smtClean="0">
                <a:latin typeface="Arial" pitchFamily="34" charset="0"/>
              </a:rPr>
              <a:t>VMware Workstation</a:t>
            </a:r>
            <a:r>
              <a:rPr lang="zh-CN" altLang="en-US" smtClean="0">
                <a:latin typeface="Arial" pitchFamily="34" charset="0"/>
              </a:rPr>
              <a:t>，</a:t>
            </a:r>
            <a:r>
              <a:rPr lang="en-US" altLang="zh-CN" smtClean="0">
                <a:latin typeface="Arial" pitchFamily="34" charset="0"/>
              </a:rPr>
              <a:t>Microsoft Virtual Server</a:t>
            </a:r>
            <a:r>
              <a:rPr lang="zh-CN" altLang="en-US" smtClean="0">
                <a:latin typeface="Arial" pitchFamily="34" charset="0"/>
              </a:rPr>
              <a:t>，</a:t>
            </a:r>
            <a:r>
              <a:rPr lang="en-US" altLang="zh-CN" smtClean="0">
                <a:latin typeface="Arial" pitchFamily="34" charset="0"/>
              </a:rPr>
              <a:t>SUN Virtualbox</a:t>
            </a:r>
            <a:r>
              <a:rPr lang="zh-CN" altLang="en-US" smtClean="0">
                <a:latin typeface="Arial" pitchFamily="34" charset="0"/>
              </a:rPr>
              <a:t>等</a:t>
            </a:r>
          </a:p>
          <a:p>
            <a:endParaRPr lang="zh-CN" altLang="en-US"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幻灯片图像占位符 1"/>
          <p:cNvSpPr>
            <a:spLocks noGrp="1" noRot="1" noChangeAspect="1" noTextEdit="1"/>
          </p:cNvSpPr>
          <p:nvPr>
            <p:ph type="sldImg"/>
          </p:nvPr>
        </p:nvSpPr>
        <p:spPr>
          <a:ln/>
        </p:spPr>
      </p:sp>
      <p:sp>
        <p:nvSpPr>
          <p:cNvPr id="5325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de-DE" smtClean="0">
                <a:latin typeface="Arial" pitchFamily="34" charset="0"/>
              </a:rPr>
              <a:t>云存储是通过</a:t>
            </a:r>
            <a:r>
              <a:rPr lang="zh-CN" altLang="de-DE" b="1" smtClean="0">
                <a:solidFill>
                  <a:srgbClr val="FF0000"/>
                </a:solidFill>
                <a:latin typeface="Arial" pitchFamily="34" charset="0"/>
              </a:rPr>
              <a:t>集群应用、网格技术、分布式技术</a:t>
            </a:r>
            <a:r>
              <a:rPr lang="zh-CN" altLang="de-DE" smtClean="0">
                <a:latin typeface="Arial" pitchFamily="34" charset="0"/>
              </a:rPr>
              <a:t>，将网络中大量的存储设备通过软件集合起来协同工作，共同对外提供低成本和高可扩展的数据存储服务</a:t>
            </a:r>
            <a:endParaRPr lang="zh-CN" altLang="en-US" smtClean="0">
              <a:latin typeface="Arial" pitchFamily="34" charset="0"/>
            </a:endParaRPr>
          </a:p>
          <a:p>
            <a:endParaRPr lang="zh-CN" altLang="en-US" smtClean="0">
              <a:latin typeface="Arial" pitchFamily="34" charset="0"/>
            </a:endParaRPr>
          </a:p>
        </p:txBody>
      </p:sp>
      <p:sp>
        <p:nvSpPr>
          <p:cNvPr id="5325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0048E324-5813-49D6-A4F4-283A67A05C2B}" type="slidenum">
              <a:rPr lang="en-US" altLang="zh-CN" b="0" smtClean="0">
                <a:latin typeface="Arial" pitchFamily="34" charset="0"/>
                <a:ea typeface="宋体" pitchFamily="2" charset="-122"/>
              </a:rPr>
              <a:pPr eaLnBrk="1" hangingPunct="1"/>
              <a:t>20</a:t>
            </a:fld>
            <a:endParaRPr lang="en-US" altLang="zh-CN" b="0" smtClean="0">
              <a:latin typeface="Arial" pitchFamily="34" charset="0"/>
              <a:ea typeface="宋体" pitchFamily="2" charset="-122"/>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幻灯片图像占位符 1"/>
          <p:cNvSpPr>
            <a:spLocks noGrp="1" noRot="1" noChangeAspect="1" noTextEdit="1"/>
          </p:cNvSpPr>
          <p:nvPr>
            <p:ph type="sldImg"/>
          </p:nvPr>
        </p:nvSpPr>
        <p:spPr>
          <a:ln/>
        </p:spPr>
      </p:sp>
      <p:sp>
        <p:nvSpPr>
          <p:cNvPr id="5427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latin typeface="Arial" pitchFamily="34" charset="0"/>
            </a:endParaRPr>
          </a:p>
        </p:txBody>
      </p:sp>
      <p:sp>
        <p:nvSpPr>
          <p:cNvPr id="5427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37AB5E38-F518-4174-9596-B2C0D9ADE65A}" type="slidenum">
              <a:rPr lang="en-US" altLang="zh-CN" b="0" smtClean="0">
                <a:latin typeface="Arial" pitchFamily="34" charset="0"/>
                <a:ea typeface="宋体" pitchFamily="2" charset="-122"/>
              </a:rPr>
              <a:pPr eaLnBrk="1" hangingPunct="1"/>
              <a:t>21</a:t>
            </a:fld>
            <a:endParaRPr lang="en-US" altLang="zh-CN" b="0" smtClean="0">
              <a:latin typeface="Arial" pitchFamily="34" charset="0"/>
              <a:ea typeface="宋体" pitchFamily="2" charset="-122"/>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幻灯片图像占位符 1"/>
          <p:cNvSpPr>
            <a:spLocks noGrp="1" noRot="1" noChangeAspect="1" noTextEdit="1"/>
          </p:cNvSpPr>
          <p:nvPr>
            <p:ph type="sldImg"/>
          </p:nvPr>
        </p:nvSpPr>
        <p:spPr>
          <a:ln/>
        </p:spPr>
      </p:sp>
      <p:sp>
        <p:nvSpPr>
          <p:cNvPr id="5529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smtClean="0">
                <a:latin typeface="Arial" pitchFamily="34" charset="0"/>
              </a:rPr>
              <a:t>云计算相关网络技术需要解决以下三个主要问题：</a:t>
            </a:r>
          </a:p>
          <a:p>
            <a:r>
              <a:rPr lang="zh-CN" altLang="en-US" smtClean="0">
                <a:latin typeface="Arial" pitchFamily="34" charset="0"/>
              </a:rPr>
              <a:t>第一，虚拟机流量的接入与控制。</a:t>
            </a:r>
            <a:endParaRPr lang="en-US" altLang="zh-CN" smtClean="0">
              <a:latin typeface="Arial" pitchFamily="34" charset="0"/>
            </a:endParaRPr>
          </a:p>
          <a:p>
            <a:r>
              <a:rPr lang="zh-CN" altLang="en-US" smtClean="0">
                <a:latin typeface="Arial" pitchFamily="34" charset="0"/>
              </a:rPr>
              <a:t>第二，数据中心内部横向流量的承载。</a:t>
            </a:r>
            <a:endParaRPr lang="en-US" altLang="zh-CN" smtClean="0">
              <a:latin typeface="Arial" pitchFamily="34" charset="0"/>
            </a:endParaRPr>
          </a:p>
          <a:p>
            <a:r>
              <a:rPr lang="zh-CN" altLang="en-US" smtClean="0">
                <a:latin typeface="Arial" pitchFamily="34" charset="0"/>
              </a:rPr>
              <a:t>第三，数据、存储网络的融合。</a:t>
            </a:r>
          </a:p>
          <a:p>
            <a:endParaRPr lang="zh-CN" altLang="en-US" smtClean="0">
              <a:latin typeface="Arial" pitchFamily="34" charset="0"/>
            </a:endParaRPr>
          </a:p>
        </p:txBody>
      </p:sp>
      <p:sp>
        <p:nvSpPr>
          <p:cNvPr id="5530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DF1A2EAF-6866-4874-8985-FE2AF4486F2D}" type="slidenum">
              <a:rPr lang="en-US" altLang="zh-CN" b="0" smtClean="0">
                <a:latin typeface="Arial" pitchFamily="34" charset="0"/>
                <a:ea typeface="宋体" pitchFamily="2" charset="-122"/>
              </a:rPr>
              <a:pPr eaLnBrk="1" hangingPunct="1"/>
              <a:t>23</a:t>
            </a:fld>
            <a:endParaRPr lang="en-US" altLang="zh-CN" b="0" smtClean="0">
              <a:latin typeface="Arial" pitchFamily="34" charset="0"/>
              <a:ea typeface="宋体" pitchFamily="2" charset="-122"/>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幻灯片图像占位符 1"/>
          <p:cNvSpPr>
            <a:spLocks noGrp="1" noRot="1" noChangeAspect="1" noTextEdit="1"/>
          </p:cNvSpPr>
          <p:nvPr>
            <p:ph type="sldImg"/>
          </p:nvPr>
        </p:nvSpPr>
        <p:spPr>
          <a:ln/>
        </p:spPr>
      </p:sp>
      <p:sp>
        <p:nvSpPr>
          <p:cNvPr id="56323"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 typeface="Wingdings" pitchFamily="2" charset="2"/>
              <a:buNone/>
            </a:pPr>
            <a:r>
              <a:rPr lang="zh-CN" altLang="en-US" smtClean="0">
                <a:latin typeface="Arial" pitchFamily="34" charset="0"/>
              </a:rPr>
              <a:t>“资源池”管理技术主要实现对物理资源、虚拟资源的统一管理，并根据用户需求实现虚拟资源（虚拟机、虚拟存储空间等）的自动化生成、分配、回收和迁移，用以支持用户对资源的弹性需求。云计算“资源池”管理技术与传统</a:t>
            </a:r>
            <a:r>
              <a:rPr lang="en-US" altLang="zh-CN" smtClean="0">
                <a:latin typeface="Arial" pitchFamily="34" charset="0"/>
              </a:rPr>
              <a:t>IT </a:t>
            </a:r>
            <a:r>
              <a:rPr lang="zh-CN" altLang="en-US" smtClean="0">
                <a:latin typeface="Arial" pitchFamily="34" charset="0"/>
              </a:rPr>
              <a:t>管理软件的主要区别是实现了虚拟资源的“热迁移”，即在物理主机发生故障或需要进行维护操作时，将运行在其上的虚拟机迁移至其他物理主机，同时保证用户业务不被中断。</a:t>
            </a:r>
            <a:endParaRPr lang="en-US" altLang="zh-CN" smtClean="0">
              <a:latin typeface="Arial" pitchFamily="34" charset="0"/>
            </a:endParaRPr>
          </a:p>
          <a:p>
            <a:pPr>
              <a:buFont typeface="Wingdings" pitchFamily="2" charset="2"/>
              <a:buNone/>
            </a:pPr>
            <a:r>
              <a:rPr lang="zh-CN" altLang="en-US" smtClean="0">
                <a:latin typeface="Arial" pitchFamily="34" charset="0"/>
              </a:rPr>
              <a:t>“热迁移”的重要前提是物理服务器使用共享存储器，并且虚拟机的迁移与网络配置的迁移同时进行。目前威睿、思杰、微软的虚拟</a:t>
            </a:r>
          </a:p>
          <a:p>
            <a:pPr>
              <a:buFont typeface="Wingdings" pitchFamily="2" charset="2"/>
              <a:buNone/>
            </a:pPr>
            <a:r>
              <a:rPr lang="zh-CN" altLang="en-US" smtClean="0">
                <a:latin typeface="Arial" pitchFamily="34" charset="0"/>
              </a:rPr>
              <a:t>化解决方案均支持“热迁移”功能，但不同虚拟机格式之间的迁移还</a:t>
            </a:r>
          </a:p>
          <a:p>
            <a:pPr>
              <a:buFont typeface="Wingdings" pitchFamily="2" charset="2"/>
              <a:buNone/>
            </a:pPr>
            <a:r>
              <a:rPr lang="zh-CN" altLang="en-US" smtClean="0">
                <a:latin typeface="Arial" pitchFamily="34" charset="0"/>
              </a:rPr>
              <a:t>难以实现，这也导致了在搭建云计算系统时对虚拟化软件提供商的选</a:t>
            </a:r>
          </a:p>
          <a:p>
            <a:pPr>
              <a:buFont typeface="Wingdings" pitchFamily="2" charset="2"/>
              <a:buNone/>
            </a:pPr>
            <a:r>
              <a:rPr lang="zh-CN" altLang="en-US" smtClean="0">
                <a:latin typeface="Arial" pitchFamily="34" charset="0"/>
              </a:rPr>
              <a:t>择受限。一些国际标准组织正在对此进行努力，如</a:t>
            </a:r>
            <a:r>
              <a:rPr lang="en-US" altLang="zh-CN" smtClean="0">
                <a:latin typeface="Arial" pitchFamily="34" charset="0"/>
              </a:rPr>
              <a:t>DMTF </a:t>
            </a:r>
            <a:r>
              <a:rPr lang="zh-CN" altLang="en-US" smtClean="0">
                <a:latin typeface="Arial" pitchFamily="34" charset="0"/>
              </a:rPr>
              <a:t>定义了开</a:t>
            </a:r>
          </a:p>
          <a:p>
            <a:pPr>
              <a:buFont typeface="Wingdings" pitchFamily="2" charset="2"/>
              <a:buNone/>
            </a:pPr>
            <a:r>
              <a:rPr lang="zh-CN" altLang="en-US" smtClean="0">
                <a:latin typeface="Arial" pitchFamily="34" charset="0"/>
              </a:rPr>
              <a:t>放虚拟机格式（</a:t>
            </a:r>
            <a:r>
              <a:rPr lang="en-US" altLang="zh-CN" smtClean="0">
                <a:latin typeface="Arial" pitchFamily="34" charset="0"/>
              </a:rPr>
              <a:t>OVF</a:t>
            </a:r>
            <a:r>
              <a:rPr lang="zh-CN" altLang="en-US" smtClean="0">
                <a:latin typeface="Arial" pitchFamily="34" charset="0"/>
              </a:rPr>
              <a:t>，</a:t>
            </a:r>
            <a:r>
              <a:rPr lang="en-US" altLang="zh-CN" smtClean="0">
                <a:latin typeface="Arial" pitchFamily="34" charset="0"/>
              </a:rPr>
              <a:t>Open Virtualization Format</a:t>
            </a:r>
            <a:r>
              <a:rPr lang="zh-CN" altLang="en-US" smtClean="0">
                <a:latin typeface="Arial" pitchFamily="34" charset="0"/>
              </a:rPr>
              <a:t>），但目前威睿等公</a:t>
            </a:r>
          </a:p>
          <a:p>
            <a:pPr>
              <a:buFont typeface="Wingdings" pitchFamily="2" charset="2"/>
              <a:buNone/>
            </a:pPr>
            <a:r>
              <a:rPr lang="zh-CN" altLang="en-US" smtClean="0">
                <a:latin typeface="Arial" pitchFamily="34" charset="0"/>
              </a:rPr>
              <a:t>司产品对</a:t>
            </a:r>
            <a:r>
              <a:rPr lang="en-US" altLang="zh-CN" smtClean="0">
                <a:latin typeface="Arial" pitchFamily="34" charset="0"/>
              </a:rPr>
              <a:t>OVF </a:t>
            </a:r>
            <a:r>
              <a:rPr lang="zh-CN" altLang="en-US" smtClean="0">
                <a:latin typeface="Arial" pitchFamily="34" charset="0"/>
              </a:rPr>
              <a:t>的支持也只是实现了对虚拟机镜像的导出和导入，且</a:t>
            </a:r>
          </a:p>
          <a:p>
            <a:pPr>
              <a:buFont typeface="Wingdings" pitchFamily="2" charset="2"/>
              <a:buNone/>
            </a:pPr>
            <a:r>
              <a:rPr lang="zh-CN" altLang="en-US" smtClean="0">
                <a:latin typeface="Arial" pitchFamily="34" charset="0"/>
              </a:rPr>
              <a:t>需要在虚拟机处于关机状态时进行，尚无法实现不同格式虚拟机之间</a:t>
            </a:r>
          </a:p>
          <a:p>
            <a:pPr>
              <a:buFont typeface="Wingdings" pitchFamily="2" charset="2"/>
              <a:buNone/>
            </a:pPr>
            <a:r>
              <a:rPr lang="zh-CN" altLang="en-US" smtClean="0">
                <a:latin typeface="Arial" pitchFamily="34" charset="0"/>
              </a:rPr>
              <a:t>的“热迁移”。</a:t>
            </a:r>
          </a:p>
          <a:p>
            <a:endParaRPr lang="zh-CN" altLang="en-US" smtClean="0">
              <a:latin typeface="Arial" pitchFamily="34" charset="0"/>
            </a:endParaRPr>
          </a:p>
        </p:txBody>
      </p:sp>
      <p:sp>
        <p:nvSpPr>
          <p:cNvPr id="56324"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AC939A9A-CC79-4409-906D-51FDB4D989EB}" type="slidenum">
              <a:rPr lang="en-US" altLang="zh-CN" b="0" smtClean="0">
                <a:latin typeface="Arial" pitchFamily="34" charset="0"/>
                <a:ea typeface="宋体" pitchFamily="2" charset="-122"/>
              </a:rPr>
              <a:pPr eaLnBrk="1" hangingPunct="1"/>
              <a:t>27</a:t>
            </a:fld>
            <a:endParaRPr lang="en-US" altLang="zh-CN" b="0" smtClean="0">
              <a:latin typeface="Arial" pitchFamily="34" charset="0"/>
              <a:ea typeface="宋体" pitchFamily="2" charset="-122"/>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ln/>
        </p:spPr>
      </p:sp>
      <p:sp>
        <p:nvSpPr>
          <p:cNvPr id="5734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smtClean="0">
                <a:latin typeface="Arial" pitchFamily="34" charset="0"/>
              </a:rPr>
              <a:t>国际运营商云计算实践较为领先。</a:t>
            </a:r>
            <a:r>
              <a:rPr lang="en-US" altLang="zh-CN" smtClean="0">
                <a:latin typeface="Arial" pitchFamily="34" charset="0"/>
              </a:rPr>
              <a:t>AT&amp;T </a:t>
            </a:r>
            <a:r>
              <a:rPr lang="zh-CN" altLang="en-US" smtClean="0">
                <a:latin typeface="Arial" pitchFamily="34" charset="0"/>
              </a:rPr>
              <a:t>从 </a:t>
            </a:r>
            <a:r>
              <a:rPr lang="en-US" altLang="zh-CN" smtClean="0">
                <a:latin typeface="Arial" pitchFamily="34" charset="0"/>
              </a:rPr>
              <a:t>2008 </a:t>
            </a:r>
            <a:r>
              <a:rPr lang="zh-CN" altLang="en-US" smtClean="0">
                <a:latin typeface="Arial" pitchFamily="34" charset="0"/>
              </a:rPr>
              <a:t>年开始依托全球 </a:t>
            </a:r>
            <a:r>
              <a:rPr lang="en-US" altLang="zh-CN" smtClean="0">
                <a:latin typeface="Arial" pitchFamily="34" charset="0"/>
              </a:rPr>
              <a:t>38 </a:t>
            </a:r>
            <a:r>
              <a:rPr lang="zh-CN" altLang="en-US" smtClean="0">
                <a:latin typeface="Arial" pitchFamily="34" charset="0"/>
              </a:rPr>
              <a:t>个数据中心提供虚拟主</a:t>
            </a:r>
          </a:p>
          <a:p>
            <a:r>
              <a:rPr lang="zh-CN" altLang="en-US" smtClean="0">
                <a:latin typeface="Arial" pitchFamily="34" charset="0"/>
              </a:rPr>
              <a:t>机托管和存储服务，服务范围包括 </a:t>
            </a:r>
            <a:r>
              <a:rPr lang="en-US" altLang="zh-CN" smtClean="0">
                <a:latin typeface="Arial" pitchFamily="34" charset="0"/>
              </a:rPr>
              <a:t>IT </a:t>
            </a:r>
            <a:r>
              <a:rPr lang="zh-CN" altLang="en-US" smtClean="0">
                <a:latin typeface="Arial" pitchFamily="34" charset="0"/>
              </a:rPr>
              <a:t>系统托管、虚拟机出租、网络存储等；</a:t>
            </a:r>
            <a:r>
              <a:rPr lang="en-US" altLang="zh-CN" smtClean="0">
                <a:latin typeface="Arial" pitchFamily="34" charset="0"/>
              </a:rPr>
              <a:t>Verizon 2009 </a:t>
            </a:r>
            <a:r>
              <a:rPr lang="zh-CN" altLang="en-US" smtClean="0">
                <a:latin typeface="Arial" pitchFamily="34" charset="0"/>
              </a:rPr>
              <a:t>年推出</a:t>
            </a:r>
          </a:p>
          <a:p>
            <a:r>
              <a:rPr lang="zh-CN" altLang="en-US" smtClean="0">
                <a:latin typeface="Arial" pitchFamily="34" charset="0"/>
              </a:rPr>
              <a:t>主机托管服务， </a:t>
            </a:r>
            <a:r>
              <a:rPr lang="en-US" altLang="zh-CN" smtClean="0">
                <a:latin typeface="Arial" pitchFamily="34" charset="0"/>
              </a:rPr>
              <a:t>2010 </a:t>
            </a:r>
            <a:r>
              <a:rPr lang="zh-CN" altLang="en-US" smtClean="0">
                <a:latin typeface="Arial" pitchFamily="34" charset="0"/>
              </a:rPr>
              <a:t>年推出存储服务， </a:t>
            </a:r>
            <a:r>
              <a:rPr lang="en-US" altLang="zh-CN" smtClean="0">
                <a:latin typeface="Arial" pitchFamily="34" charset="0"/>
              </a:rPr>
              <a:t>2011 </a:t>
            </a:r>
            <a:r>
              <a:rPr lang="zh-CN" altLang="en-US" smtClean="0">
                <a:latin typeface="Arial" pitchFamily="34" charset="0"/>
              </a:rPr>
              <a:t>年收购 </a:t>
            </a:r>
            <a:r>
              <a:rPr lang="en-US" altLang="zh-CN" smtClean="0">
                <a:latin typeface="Arial" pitchFamily="34" charset="0"/>
              </a:rPr>
              <a:t>Terremark</a:t>
            </a:r>
            <a:r>
              <a:rPr lang="zh-CN" altLang="en-US" smtClean="0">
                <a:latin typeface="Arial" pitchFamily="34" charset="0"/>
              </a:rPr>
              <a:t>； 法国电信则与思科、 </a:t>
            </a:r>
            <a:r>
              <a:rPr lang="en-US" altLang="zh-CN" smtClean="0">
                <a:latin typeface="Arial" pitchFamily="34" charset="0"/>
              </a:rPr>
              <a:t>EMC</a:t>
            </a:r>
            <a:r>
              <a:rPr lang="zh-CN" altLang="en-US" smtClean="0">
                <a:latin typeface="Arial" pitchFamily="34" charset="0"/>
              </a:rPr>
              <a:t>、 </a:t>
            </a:r>
            <a:r>
              <a:rPr lang="en-US" altLang="zh-CN" smtClean="0">
                <a:latin typeface="Arial" pitchFamily="34" charset="0"/>
              </a:rPr>
              <a:t>Vmware</a:t>
            </a:r>
          </a:p>
          <a:p>
            <a:r>
              <a:rPr lang="zh-CN" altLang="en-US" smtClean="0">
                <a:latin typeface="Arial" pitchFamily="34" charset="0"/>
              </a:rPr>
              <a:t>联合成立了“</a:t>
            </a:r>
            <a:r>
              <a:rPr lang="en-US" altLang="zh-CN" smtClean="0">
                <a:latin typeface="Arial" pitchFamily="34" charset="0"/>
              </a:rPr>
              <a:t>Flexible 4 Business </a:t>
            </a:r>
            <a:r>
              <a:rPr lang="zh-CN" altLang="en-US" smtClean="0">
                <a:latin typeface="Arial" pitchFamily="34" charset="0"/>
              </a:rPr>
              <a:t>联盟”，提供 </a:t>
            </a:r>
            <a:r>
              <a:rPr lang="en-US" altLang="zh-CN" smtClean="0">
                <a:latin typeface="Arial" pitchFamily="34" charset="0"/>
              </a:rPr>
              <a:t>IaaS </a:t>
            </a:r>
            <a:r>
              <a:rPr lang="zh-CN" altLang="en-US" smtClean="0">
                <a:latin typeface="Arial" pitchFamily="34" charset="0"/>
              </a:rPr>
              <a:t>和 </a:t>
            </a:r>
            <a:r>
              <a:rPr lang="en-US" altLang="zh-CN" smtClean="0">
                <a:latin typeface="Arial" pitchFamily="34" charset="0"/>
              </a:rPr>
              <a:t>SaaS </a:t>
            </a:r>
            <a:r>
              <a:rPr lang="zh-CN" altLang="en-US" smtClean="0">
                <a:latin typeface="Arial" pitchFamily="34" charset="0"/>
              </a:rPr>
              <a:t>服务；</a:t>
            </a:r>
            <a:r>
              <a:rPr lang="en-US" altLang="zh-CN" smtClean="0">
                <a:latin typeface="Arial" pitchFamily="34" charset="0"/>
              </a:rPr>
              <a:t>BT </a:t>
            </a:r>
            <a:r>
              <a:rPr lang="zh-CN" altLang="en-US" smtClean="0">
                <a:latin typeface="Arial" pitchFamily="34" charset="0"/>
              </a:rPr>
              <a:t>云计算方面的业务也主要涉</a:t>
            </a:r>
          </a:p>
          <a:p>
            <a:r>
              <a:rPr lang="zh-CN" altLang="en-US" smtClean="0">
                <a:latin typeface="Arial" pitchFamily="34" charset="0"/>
              </a:rPr>
              <a:t>及 </a:t>
            </a:r>
            <a:r>
              <a:rPr lang="en-US" altLang="zh-CN" smtClean="0">
                <a:latin typeface="Arial" pitchFamily="34" charset="0"/>
              </a:rPr>
              <a:t>IaaS </a:t>
            </a:r>
            <a:r>
              <a:rPr lang="zh-CN" altLang="en-US" smtClean="0">
                <a:latin typeface="Arial" pitchFamily="34" charset="0"/>
              </a:rPr>
              <a:t>和 </a:t>
            </a:r>
            <a:r>
              <a:rPr lang="en-US" altLang="zh-CN" smtClean="0">
                <a:latin typeface="Arial" pitchFamily="34" charset="0"/>
              </a:rPr>
              <a:t>SaaS </a:t>
            </a:r>
            <a:r>
              <a:rPr lang="zh-CN" altLang="en-US" smtClean="0">
                <a:latin typeface="Arial" pitchFamily="34" charset="0"/>
              </a:rPr>
              <a:t>服务，在 </a:t>
            </a:r>
            <a:r>
              <a:rPr lang="en-US" altLang="zh-CN" smtClean="0">
                <a:latin typeface="Arial" pitchFamily="34" charset="0"/>
              </a:rPr>
              <a:t>2009 </a:t>
            </a:r>
            <a:r>
              <a:rPr lang="zh-CN" altLang="en-US" smtClean="0">
                <a:latin typeface="Arial" pitchFamily="34" charset="0"/>
              </a:rPr>
              <a:t>年 </a:t>
            </a:r>
            <a:r>
              <a:rPr lang="en-US" altLang="zh-CN" smtClean="0">
                <a:latin typeface="Arial" pitchFamily="34" charset="0"/>
              </a:rPr>
              <a:t>6 </a:t>
            </a:r>
            <a:r>
              <a:rPr lang="zh-CN" altLang="en-US" smtClean="0">
                <a:latin typeface="Arial" pitchFamily="34" charset="0"/>
              </a:rPr>
              <a:t>月推出 </a:t>
            </a:r>
            <a:r>
              <a:rPr lang="en-US" altLang="zh-CN" smtClean="0">
                <a:latin typeface="Arial" pitchFamily="34" charset="0"/>
              </a:rPr>
              <a:t>VDC </a:t>
            </a:r>
            <a:r>
              <a:rPr lang="zh-CN" altLang="en-US" smtClean="0">
                <a:latin typeface="Arial" pitchFamily="34" charset="0"/>
              </a:rPr>
              <a:t>服务。他们共同的特点是利用运营商的数据中心资源、网络优势，从 </a:t>
            </a:r>
            <a:r>
              <a:rPr lang="en-US" altLang="zh-CN" smtClean="0">
                <a:latin typeface="Arial" pitchFamily="34" charset="0"/>
              </a:rPr>
              <a:t>IaaS </a:t>
            </a:r>
            <a:r>
              <a:rPr lang="zh-CN" altLang="en-US" smtClean="0">
                <a:latin typeface="Arial" pitchFamily="34" charset="0"/>
              </a:rPr>
              <a:t>基础设施级服务切入云计算，并通过云平台能力，将运营商的传统业</a:t>
            </a:r>
          </a:p>
          <a:p>
            <a:r>
              <a:rPr lang="zh-CN" altLang="en-US" smtClean="0">
                <a:latin typeface="Arial" pitchFamily="34" charset="0"/>
              </a:rPr>
              <a:t>务渗透到多种桌面系统。</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ln/>
        </p:spPr>
      </p:sp>
      <p:sp>
        <p:nvSpPr>
          <p:cNvPr id="5837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smtClean="0">
                <a:latin typeface="Arial" pitchFamily="34" charset="0"/>
              </a:rPr>
              <a:t>运营商在云计算领域有如下四个方面的优势。首先是资源优势，电信运营商拥有覆盖全国所</a:t>
            </a:r>
          </a:p>
          <a:p>
            <a:r>
              <a:rPr lang="zh-CN" altLang="en-US" smtClean="0">
                <a:latin typeface="Arial" pitchFamily="34" charset="0"/>
              </a:rPr>
              <a:t>有地市的骨干网络资源，以及遍布全国的接入网络，拥有全国绝大多数的 </a:t>
            </a:r>
            <a:r>
              <a:rPr lang="en-US" altLang="zh-CN" smtClean="0">
                <a:latin typeface="Arial" pitchFamily="34" charset="0"/>
              </a:rPr>
              <a:t>IDC </a:t>
            </a:r>
            <a:r>
              <a:rPr lang="zh-CN" altLang="en-US" smtClean="0">
                <a:latin typeface="Arial" pitchFamily="34" charset="0"/>
              </a:rPr>
              <a:t>机房资源，机房数</a:t>
            </a:r>
          </a:p>
          <a:p>
            <a:r>
              <a:rPr lang="zh-CN" altLang="en-US" smtClean="0">
                <a:latin typeface="Arial" pitchFamily="34" charset="0"/>
              </a:rPr>
              <a:t>量占 </a:t>
            </a:r>
            <a:r>
              <a:rPr lang="en-US" altLang="zh-CN" smtClean="0">
                <a:latin typeface="Arial" pitchFamily="34" charset="0"/>
              </a:rPr>
              <a:t>75%</a:t>
            </a:r>
            <a:r>
              <a:rPr lang="zh-CN" altLang="en-US" smtClean="0">
                <a:latin typeface="Arial" pitchFamily="34" charset="0"/>
              </a:rPr>
              <a:t>，机房面积占 </a:t>
            </a:r>
            <a:r>
              <a:rPr lang="en-US" altLang="zh-CN" smtClean="0">
                <a:latin typeface="Arial" pitchFamily="34" charset="0"/>
              </a:rPr>
              <a:t>67%</a:t>
            </a:r>
            <a:r>
              <a:rPr lang="zh-CN" altLang="en-US" smtClean="0">
                <a:latin typeface="Arial" pitchFamily="34" charset="0"/>
              </a:rPr>
              <a:t>。现在 </a:t>
            </a:r>
            <a:r>
              <a:rPr lang="en-US" altLang="zh-CN" smtClean="0">
                <a:latin typeface="Arial" pitchFamily="34" charset="0"/>
              </a:rPr>
              <a:t>IDC </a:t>
            </a:r>
            <a:r>
              <a:rPr lang="zh-CN" altLang="en-US" smtClean="0">
                <a:latin typeface="Arial" pitchFamily="34" charset="0"/>
              </a:rPr>
              <a:t>建设在全国风生水起，广东、内蒙古、重庆等多个省份和</a:t>
            </a:r>
          </a:p>
          <a:p>
            <a:r>
              <a:rPr lang="zh-CN" altLang="en-US" smtClean="0">
                <a:latin typeface="Arial" pitchFamily="34" charset="0"/>
              </a:rPr>
              <a:t>城市都在大力建大的数据中心，但 </a:t>
            </a:r>
            <a:r>
              <a:rPr lang="en-US" altLang="zh-CN" smtClean="0">
                <a:latin typeface="Arial" pitchFamily="34" charset="0"/>
              </a:rPr>
              <a:t>IDC </a:t>
            </a:r>
            <a:r>
              <a:rPr lang="zh-CN" altLang="en-US" smtClean="0">
                <a:latin typeface="Arial" pitchFamily="34" charset="0"/>
              </a:rPr>
              <a:t>毕竟是一个耗能非常多的产业，要遵循一定的原则和规则</a:t>
            </a:r>
          </a:p>
          <a:p>
            <a:r>
              <a:rPr lang="zh-CN" altLang="en-US" smtClean="0">
                <a:latin typeface="Arial" pitchFamily="34" charset="0"/>
              </a:rPr>
              <a:t>去建设，包括地理环境、宽带基础设施、相关配套设施等。第二个优势是政策优势，电信运营商</a:t>
            </a:r>
          </a:p>
          <a:p>
            <a:r>
              <a:rPr lang="zh-CN" altLang="en-US" smtClean="0">
                <a:latin typeface="Arial" pitchFamily="34" charset="0"/>
              </a:rPr>
              <a:t>拥有全部电信业务经营牌照，在政策上不存在风险，作为国有企业在信用方面容易得到用户的信</a:t>
            </a:r>
          </a:p>
          <a:p>
            <a:r>
              <a:rPr lang="zh-CN" altLang="en-US" smtClean="0">
                <a:latin typeface="Arial" pitchFamily="34" charset="0"/>
              </a:rPr>
              <a:t>任。第三是渠道优势，电信运营商大客户部门拥有大量企业用户资源，尤其是中小企业客户，可</a:t>
            </a:r>
          </a:p>
          <a:p>
            <a:r>
              <a:rPr lang="zh-CN" altLang="en-US" smtClean="0">
                <a:latin typeface="Arial" pitchFamily="34" charset="0"/>
              </a:rPr>
              <a:t>以形成云计算业务的用户基础；运营商拥有遍布全国的营业网点和完善的服务体系，也可以满足</a:t>
            </a:r>
          </a:p>
          <a:p>
            <a:r>
              <a:rPr lang="zh-CN" altLang="en-US" smtClean="0">
                <a:latin typeface="Arial" pitchFamily="34" charset="0"/>
              </a:rPr>
              <a:t>各种类型云计算业务开展的需要。第四个是产业优势，运营商作为电信产业的核心环节，对产业</a:t>
            </a:r>
          </a:p>
          <a:p>
            <a:r>
              <a:rPr lang="zh-CN" altLang="en-US" smtClean="0">
                <a:latin typeface="Arial" pitchFamily="34" charset="0"/>
              </a:rPr>
              <a:t>链上下游拥有比较强的控制和辐射作用，可以影响和引导整个 </a:t>
            </a:r>
            <a:r>
              <a:rPr lang="en-US" altLang="zh-CN" smtClean="0">
                <a:latin typeface="Arial" pitchFamily="34" charset="0"/>
              </a:rPr>
              <a:t>ICT </a:t>
            </a:r>
            <a:r>
              <a:rPr lang="zh-CN" altLang="en-US" smtClean="0">
                <a:latin typeface="Arial" pitchFamily="34" charset="0"/>
              </a:rPr>
              <a:t>产业的发展。</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幻灯片图像占位符 1"/>
          <p:cNvSpPr>
            <a:spLocks noGrp="1" noRot="1" noChangeAspect="1" noTextEdit="1"/>
          </p:cNvSpPr>
          <p:nvPr>
            <p:ph type="sldImg"/>
          </p:nvPr>
        </p:nvSpPr>
        <p:spPr>
          <a:ln/>
        </p:spPr>
      </p:sp>
      <p:sp>
        <p:nvSpPr>
          <p:cNvPr id="5939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smtClean="0">
              <a:latin typeface="Arial" pitchFamily="34" charset="0"/>
            </a:endParaRPr>
          </a:p>
        </p:txBody>
      </p:sp>
      <p:sp>
        <p:nvSpPr>
          <p:cNvPr id="5939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47CAFF4B-44C4-4775-9FB8-0084CC03A2F5}" type="slidenum">
              <a:rPr lang="zh-CN" altLang="en-US" b="0" smtClean="0">
                <a:latin typeface="Arial" pitchFamily="34" charset="0"/>
                <a:ea typeface="宋体" pitchFamily="2" charset="-122"/>
              </a:rPr>
              <a:pPr eaLnBrk="1" hangingPunct="1"/>
              <a:t>32</a:t>
            </a:fld>
            <a:endParaRPr lang="zh-CN" altLang="en-US" b="0" smtClean="0">
              <a:latin typeface="Arial" pitchFamily="34" charset="0"/>
              <a:ea typeface="宋体"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幻灯片图像占位符 1"/>
          <p:cNvSpPr>
            <a:spLocks noGrp="1" noRot="1" noChangeAspect="1" noTextEdit="1"/>
          </p:cNvSpPr>
          <p:nvPr>
            <p:ph type="sldImg"/>
          </p:nvPr>
        </p:nvSpPr>
        <p:spPr>
          <a:ln/>
        </p:spPr>
      </p:sp>
      <p:sp>
        <p:nvSpPr>
          <p:cNvPr id="4301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smtClean="0">
                <a:latin typeface="Arial" pitchFamily="34" charset="0"/>
              </a:rPr>
              <a:t>云计算（</a:t>
            </a:r>
            <a:r>
              <a:rPr lang="en-US" altLang="zh-CN" smtClean="0">
                <a:latin typeface="Arial" pitchFamily="34" charset="0"/>
              </a:rPr>
              <a:t>Cloud Computing</a:t>
            </a:r>
            <a:r>
              <a:rPr lang="zh-CN" altLang="en-US" smtClean="0">
                <a:latin typeface="Arial" pitchFamily="34" charset="0"/>
              </a:rPr>
              <a:t>）是一种通过网络统一组织和灵活调用各种</a:t>
            </a:r>
            <a:r>
              <a:rPr lang="en-US" altLang="zh-CN" smtClean="0">
                <a:latin typeface="Arial" pitchFamily="34" charset="0"/>
              </a:rPr>
              <a:t>ICT </a:t>
            </a:r>
            <a:r>
              <a:rPr lang="zh-CN" altLang="en-US" smtClean="0">
                <a:latin typeface="Arial" pitchFamily="34" charset="0"/>
              </a:rPr>
              <a:t>信息资源，实现大规模计算的信息处理方式。云计算利用分布式计算和虚拟资源管理等技术，通过网络将分散的</a:t>
            </a:r>
            <a:r>
              <a:rPr lang="en-US" altLang="zh-CN" smtClean="0">
                <a:latin typeface="Arial" pitchFamily="34" charset="0"/>
              </a:rPr>
              <a:t>ICT </a:t>
            </a:r>
            <a:r>
              <a:rPr lang="zh-CN" altLang="en-US" smtClean="0">
                <a:latin typeface="Arial" pitchFamily="34" charset="0"/>
              </a:rPr>
              <a:t>资源（包括计算与存储、应用运行平台、软件等）集中起来形成共享的资源池，并以动态按需和可度量的方式向用户提供服务。用户可以使用各种形式的终端</a:t>
            </a:r>
            <a:r>
              <a:rPr lang="en-US" altLang="zh-CN" smtClean="0">
                <a:latin typeface="Arial" pitchFamily="34" charset="0"/>
              </a:rPr>
              <a:t>(</a:t>
            </a:r>
            <a:r>
              <a:rPr lang="zh-CN" altLang="en-US" smtClean="0">
                <a:latin typeface="Arial" pitchFamily="34" charset="0"/>
              </a:rPr>
              <a:t>如</a:t>
            </a:r>
            <a:r>
              <a:rPr lang="en-US" altLang="zh-CN" smtClean="0">
                <a:latin typeface="Arial" pitchFamily="34" charset="0"/>
              </a:rPr>
              <a:t>PC</a:t>
            </a:r>
            <a:r>
              <a:rPr lang="zh-CN" altLang="en-US" smtClean="0">
                <a:latin typeface="Arial" pitchFamily="34" charset="0"/>
              </a:rPr>
              <a:t>、平板电脑、智能手机甚至智能电视等</a:t>
            </a:r>
            <a:r>
              <a:rPr lang="en-US" altLang="zh-CN" smtClean="0">
                <a:latin typeface="Arial" pitchFamily="34" charset="0"/>
              </a:rPr>
              <a:t>)</a:t>
            </a:r>
            <a:r>
              <a:rPr lang="zh-CN" altLang="en-US" smtClean="0">
                <a:latin typeface="Arial" pitchFamily="34" charset="0"/>
              </a:rPr>
              <a:t>通过网络获取</a:t>
            </a:r>
            <a:r>
              <a:rPr lang="en-US" altLang="zh-CN" smtClean="0">
                <a:latin typeface="Arial" pitchFamily="34" charset="0"/>
              </a:rPr>
              <a:t>ICT </a:t>
            </a:r>
            <a:r>
              <a:rPr lang="zh-CN" altLang="en-US" smtClean="0">
                <a:latin typeface="Arial" pitchFamily="34" charset="0"/>
              </a:rPr>
              <a:t>资源服务。云计算的物理实体是数据中心，由“云”的基础单元（云元）和“云”操作系统，以及连接云元的数据中心网络等组成。按照云计算服务提供的资源所在的层次，可以分为</a:t>
            </a:r>
            <a:r>
              <a:rPr lang="en-US" altLang="zh-CN" smtClean="0">
                <a:latin typeface="Arial" pitchFamily="34" charset="0"/>
              </a:rPr>
              <a:t>IaaS</a:t>
            </a:r>
            <a:r>
              <a:rPr lang="zh-CN" altLang="en-US" smtClean="0">
                <a:latin typeface="Arial" pitchFamily="34" charset="0"/>
              </a:rPr>
              <a:t>（基础设施即服务）、</a:t>
            </a:r>
            <a:r>
              <a:rPr lang="en-US" altLang="zh-CN" smtClean="0">
                <a:latin typeface="Arial" pitchFamily="34" charset="0"/>
              </a:rPr>
              <a:t>PaaS</a:t>
            </a:r>
            <a:r>
              <a:rPr lang="zh-CN" altLang="en-US" smtClean="0">
                <a:latin typeface="Arial" pitchFamily="34" charset="0"/>
              </a:rPr>
              <a:t>（平台即服务）和</a:t>
            </a:r>
            <a:r>
              <a:rPr lang="en-US" altLang="zh-CN" smtClean="0">
                <a:latin typeface="Arial" pitchFamily="34" charset="0"/>
              </a:rPr>
              <a:t>SaaS</a:t>
            </a:r>
            <a:r>
              <a:rPr lang="zh-CN" altLang="en-US" smtClean="0">
                <a:latin typeface="Arial" pitchFamily="34" charset="0"/>
              </a:rPr>
              <a:t>（软件即服务）等。云计算又可分为面向机构内部提供服务的私有云</a:t>
            </a:r>
            <a:r>
              <a:rPr lang="en-US" altLang="zh-CN" smtClean="0">
                <a:latin typeface="Arial" pitchFamily="34" charset="0"/>
              </a:rPr>
              <a:t>1</a:t>
            </a:r>
            <a:r>
              <a:rPr lang="zh-CN" altLang="en-US" smtClean="0">
                <a:latin typeface="Arial" pitchFamily="34" charset="0"/>
              </a:rPr>
              <a:t>，面向公众使用的公共云，以及二者相结合的混合云等。</a:t>
            </a:r>
          </a:p>
          <a:p>
            <a:endParaRPr lang="zh-CN" altLang="en-US" smtClean="0">
              <a:latin typeface="Arial" pitchFamily="34" charset="0"/>
            </a:endParaRPr>
          </a:p>
        </p:txBody>
      </p:sp>
      <p:sp>
        <p:nvSpPr>
          <p:cNvPr id="4301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45372CA7-A2EC-40EE-A075-C8CD68877357}" type="slidenum">
              <a:rPr lang="en-US" altLang="zh-CN" b="0" smtClean="0">
                <a:latin typeface="Arial" pitchFamily="34" charset="0"/>
                <a:ea typeface="宋体" pitchFamily="2" charset="-122"/>
              </a:rPr>
              <a:pPr eaLnBrk="1" hangingPunct="1"/>
              <a:t>3</a:t>
            </a:fld>
            <a:endParaRPr lang="en-US" altLang="zh-CN" b="0" smtClean="0">
              <a:latin typeface="Arial" pitchFamily="34" charset="0"/>
              <a:ea typeface="宋体"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幻灯片图像占位符 1"/>
          <p:cNvSpPr>
            <a:spLocks noGrp="1" noRot="1" noChangeAspect="1" noTextEdit="1"/>
          </p:cNvSpPr>
          <p:nvPr>
            <p:ph type="sldImg"/>
          </p:nvPr>
        </p:nvSpPr>
        <p:spPr>
          <a:ln/>
        </p:spPr>
      </p:sp>
      <p:sp>
        <p:nvSpPr>
          <p:cNvPr id="4403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smtClean="0">
                <a:latin typeface="Arial" pitchFamily="34" charset="0"/>
              </a:rPr>
              <a:t> 云计算</a:t>
            </a:r>
            <a:r>
              <a:rPr lang="en-US" altLang="zh-CN" smtClean="0">
                <a:latin typeface="Arial" pitchFamily="34" charset="0"/>
              </a:rPr>
              <a:t>(Cloud Computing)</a:t>
            </a:r>
            <a:r>
              <a:rPr lang="zh-CN" altLang="en-US" smtClean="0">
                <a:latin typeface="Arial" pitchFamily="34" charset="0"/>
              </a:rPr>
              <a:t>是分布式处理</a:t>
            </a:r>
            <a:r>
              <a:rPr lang="en-US" altLang="zh-CN" smtClean="0">
                <a:latin typeface="Arial" pitchFamily="34" charset="0"/>
              </a:rPr>
              <a:t>(Distributed Computing)</a:t>
            </a:r>
            <a:r>
              <a:rPr lang="zh-CN" altLang="en-US" smtClean="0">
                <a:latin typeface="Arial" pitchFamily="34" charset="0"/>
              </a:rPr>
              <a:t>、并行处理</a:t>
            </a:r>
            <a:r>
              <a:rPr lang="en-US" altLang="zh-CN" smtClean="0">
                <a:latin typeface="Arial" pitchFamily="34" charset="0"/>
              </a:rPr>
              <a:t>(Parallel Computing)</a:t>
            </a:r>
            <a:r>
              <a:rPr lang="zh-CN" altLang="en-US" smtClean="0">
                <a:latin typeface="Arial" pitchFamily="34" charset="0"/>
              </a:rPr>
              <a:t>和网格计算</a:t>
            </a:r>
            <a:r>
              <a:rPr lang="en-US" altLang="zh-CN" smtClean="0">
                <a:latin typeface="Arial" pitchFamily="34" charset="0"/>
              </a:rPr>
              <a:t>(Grid Computing)</a:t>
            </a:r>
            <a:r>
              <a:rPr lang="zh-CN" altLang="en-US" smtClean="0">
                <a:latin typeface="Arial" pitchFamily="34" charset="0"/>
              </a:rPr>
              <a:t>的发展，或者说是这些计算机科学概念的商业实现。</a:t>
            </a:r>
            <a:br>
              <a:rPr lang="zh-CN" altLang="en-US" smtClean="0">
                <a:latin typeface="Arial" pitchFamily="34" charset="0"/>
              </a:rPr>
            </a:br>
            <a:r>
              <a:rPr lang="zh-CN" altLang="en-US" smtClean="0">
                <a:latin typeface="Arial" pitchFamily="34" charset="0"/>
              </a:rPr>
              <a:t>　　云计算的基本原理是，通过使计算分布在大量的分布式计算机上，而非本地计算机或远程服务器中，企业数据中心的运行将更与互联网相似。这使得企业能够将资源切换到需要的应用上，根据需求访问计算机和存储系统。</a:t>
            </a:r>
            <a:br>
              <a:rPr lang="zh-CN" altLang="en-US" smtClean="0">
                <a:latin typeface="Arial" pitchFamily="34" charset="0"/>
              </a:rPr>
            </a:br>
            <a:r>
              <a:rPr lang="zh-CN" altLang="en-US" smtClean="0">
                <a:latin typeface="Arial" pitchFamily="34" charset="0"/>
              </a:rPr>
              <a:t>　　这可是一种革命性的举措，打个比方，这就好比是从古老的单台发电机模式转向了电厂集中供电的模式。它意味着计算能力也可以作为一种商品进行流通，就像煤气、水电一样，取用方便，费用低廉。最大的不同在于，它是通过互联网进行传输的。</a:t>
            </a:r>
          </a:p>
        </p:txBody>
      </p:sp>
      <p:sp>
        <p:nvSpPr>
          <p:cNvPr id="4403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D9F26F0E-7218-4F43-96E1-87B603435D26}" type="slidenum">
              <a:rPr lang="en-US" altLang="zh-CN" b="0" smtClean="0">
                <a:latin typeface="Arial" pitchFamily="34" charset="0"/>
                <a:ea typeface="宋体" pitchFamily="2" charset="-122"/>
              </a:rPr>
              <a:pPr eaLnBrk="1" hangingPunct="1"/>
              <a:t>4</a:t>
            </a:fld>
            <a:endParaRPr lang="en-US" altLang="zh-CN" b="0" smtClean="0">
              <a:latin typeface="Arial" pitchFamily="34" charset="0"/>
              <a:ea typeface="宋体" pitchFamily="2"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幻灯片图像占位符 1"/>
          <p:cNvSpPr>
            <a:spLocks noGrp="1" noRot="1" noChangeAspect="1" noTextEdit="1"/>
          </p:cNvSpPr>
          <p:nvPr>
            <p:ph type="sldImg"/>
          </p:nvPr>
        </p:nvSpPr>
        <p:spPr>
          <a:ln/>
        </p:spPr>
      </p:sp>
      <p:sp>
        <p:nvSpPr>
          <p:cNvPr id="4505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smtClean="0">
                <a:latin typeface="Arial" pitchFamily="34" charset="0"/>
              </a:rPr>
              <a:t>云计算服务业包括基础设施即服务（</a:t>
            </a:r>
            <a:r>
              <a:rPr lang="en-US" altLang="zh-CN" b="1" smtClean="0">
                <a:latin typeface="Arial" pitchFamily="34" charset="0"/>
              </a:rPr>
              <a:t>IaaS</a:t>
            </a:r>
            <a:r>
              <a:rPr lang="zh-CN" altLang="en-US" smtClean="0">
                <a:latin typeface="Arial" pitchFamily="34" charset="0"/>
              </a:rPr>
              <a:t>）、平台即服务（</a:t>
            </a:r>
            <a:r>
              <a:rPr lang="en-US" altLang="zh-CN" b="1" smtClean="0">
                <a:latin typeface="Arial" pitchFamily="34" charset="0"/>
              </a:rPr>
              <a:t>PaaS</a:t>
            </a:r>
            <a:r>
              <a:rPr lang="zh-CN" altLang="en-US" smtClean="0">
                <a:latin typeface="Arial" pitchFamily="34" charset="0"/>
              </a:rPr>
              <a:t>）和软件即服务（</a:t>
            </a:r>
            <a:r>
              <a:rPr lang="en-US" altLang="zh-CN" b="1" smtClean="0">
                <a:latin typeface="Arial" pitchFamily="34" charset="0"/>
              </a:rPr>
              <a:t>SaaS</a:t>
            </a:r>
            <a:r>
              <a:rPr lang="zh-CN" altLang="en-US" smtClean="0">
                <a:latin typeface="Arial" pitchFamily="34" charset="0"/>
              </a:rPr>
              <a:t>）。</a:t>
            </a:r>
            <a:r>
              <a:rPr lang="en-US" altLang="zh-CN" smtClean="0">
                <a:latin typeface="Arial" pitchFamily="34" charset="0"/>
              </a:rPr>
              <a:t>IaaS </a:t>
            </a:r>
            <a:r>
              <a:rPr lang="zh-CN" altLang="en-US" smtClean="0">
                <a:latin typeface="Arial" pitchFamily="34" charset="0"/>
              </a:rPr>
              <a:t>服务最主要的表现形式是存储服务和计算服务，主要服务商如亚马逊、</a:t>
            </a:r>
            <a:r>
              <a:rPr lang="en-US" altLang="zh-CN" smtClean="0">
                <a:latin typeface="Arial" pitchFamily="34" charset="0"/>
              </a:rPr>
              <a:t>Rackspace</a:t>
            </a:r>
            <a:r>
              <a:rPr lang="zh-CN" altLang="en-US" smtClean="0">
                <a:latin typeface="Arial" pitchFamily="34" charset="0"/>
              </a:rPr>
              <a:t>、</a:t>
            </a:r>
            <a:r>
              <a:rPr lang="en-US" altLang="zh-CN" smtClean="0">
                <a:latin typeface="Arial" pitchFamily="34" charset="0"/>
              </a:rPr>
              <a:t>Dropbox </a:t>
            </a:r>
            <a:r>
              <a:rPr lang="zh-CN" altLang="en-US" smtClean="0">
                <a:latin typeface="Arial" pitchFamily="34" charset="0"/>
              </a:rPr>
              <a:t>等公司。</a:t>
            </a:r>
            <a:r>
              <a:rPr lang="en-US" altLang="zh-CN" smtClean="0">
                <a:latin typeface="Arial" pitchFamily="34" charset="0"/>
              </a:rPr>
              <a:t>PaaS</a:t>
            </a:r>
            <a:r>
              <a:rPr lang="zh-CN" altLang="en-US" smtClean="0">
                <a:latin typeface="Arial" pitchFamily="34" charset="0"/>
              </a:rPr>
              <a:t>服务提供的是供用户实施开发的平台环境和能力，包括开发测试、能力调用、部署运行等，提供商包括微软、谷歌等。</a:t>
            </a:r>
            <a:r>
              <a:rPr lang="en-US" altLang="zh-CN" smtClean="0">
                <a:latin typeface="Arial" pitchFamily="34" charset="0"/>
              </a:rPr>
              <a:t>SaaS </a:t>
            </a:r>
            <a:r>
              <a:rPr lang="zh-CN" altLang="en-US" smtClean="0">
                <a:latin typeface="Arial" pitchFamily="34" charset="0"/>
              </a:rPr>
              <a:t>服务提供实时运行软件的在线服务，服务种类多样、形式丰富，常见的应用包括客户关系管理（</a:t>
            </a:r>
            <a:r>
              <a:rPr lang="en-US" altLang="zh-CN" smtClean="0">
                <a:latin typeface="Arial" pitchFamily="34" charset="0"/>
              </a:rPr>
              <a:t>CRM</a:t>
            </a:r>
            <a:r>
              <a:rPr lang="zh-CN" altLang="en-US" smtClean="0">
                <a:latin typeface="Arial" pitchFamily="34" charset="0"/>
              </a:rPr>
              <a:t>）、社交网络、电子邮件、办公软件、</a:t>
            </a:r>
            <a:r>
              <a:rPr lang="en-US" altLang="zh-CN" smtClean="0">
                <a:latin typeface="Arial" pitchFamily="34" charset="0"/>
              </a:rPr>
              <a:t>OA </a:t>
            </a:r>
            <a:r>
              <a:rPr lang="zh-CN" altLang="en-US" smtClean="0">
                <a:latin typeface="Arial" pitchFamily="34" charset="0"/>
              </a:rPr>
              <a:t>系统等，服务商有</a:t>
            </a:r>
            <a:r>
              <a:rPr lang="en-US" altLang="zh-CN" smtClean="0">
                <a:latin typeface="Arial" pitchFamily="34" charset="0"/>
              </a:rPr>
              <a:t>Salesforce</a:t>
            </a:r>
            <a:r>
              <a:rPr lang="zh-CN" altLang="en-US" smtClean="0">
                <a:latin typeface="Arial" pitchFamily="34" charset="0"/>
              </a:rPr>
              <a:t>、</a:t>
            </a:r>
            <a:r>
              <a:rPr lang="en-US" altLang="zh-CN" smtClean="0">
                <a:latin typeface="Arial" pitchFamily="34" charset="0"/>
              </a:rPr>
              <a:t>GigaVox</a:t>
            </a:r>
            <a:r>
              <a:rPr lang="zh-CN" altLang="en-US" smtClean="0">
                <a:latin typeface="Arial" pitchFamily="34" charset="0"/>
              </a:rPr>
              <a:t>、谷歌等。</a:t>
            </a:r>
            <a:endParaRPr lang="en-US" altLang="zh-CN" smtClean="0">
              <a:latin typeface="Arial" pitchFamily="34" charset="0"/>
            </a:endParaRPr>
          </a:p>
          <a:p>
            <a:endParaRPr lang="en-US" altLang="zh-CN" smtClean="0">
              <a:latin typeface="Arial" pitchFamily="34" charset="0"/>
            </a:endParaRPr>
          </a:p>
          <a:p>
            <a:r>
              <a:rPr lang="zh-CN" altLang="en-US" smtClean="0">
                <a:latin typeface="Arial" pitchFamily="34" charset="0"/>
              </a:rPr>
              <a:t>云计算制造业涵盖云计算相关的硬件、软件和系统集成领域。软件厂商包括基础软件、中间件和应用软件的提供商，主要提供云计算</a:t>
            </a:r>
          </a:p>
          <a:p>
            <a:r>
              <a:rPr lang="zh-CN" altLang="en-US" smtClean="0">
                <a:latin typeface="Arial" pitchFamily="34" charset="0"/>
              </a:rPr>
              <a:t>操作系统和云计算解决方案，知名企业如威睿（</a:t>
            </a:r>
            <a:r>
              <a:rPr lang="en-US" altLang="zh-CN" smtClean="0">
                <a:latin typeface="Arial" pitchFamily="34" charset="0"/>
              </a:rPr>
              <a:t>VMware</a:t>
            </a:r>
            <a:r>
              <a:rPr lang="zh-CN" altLang="en-US" smtClean="0">
                <a:latin typeface="Arial" pitchFamily="34" charset="0"/>
              </a:rPr>
              <a:t>）、思杰（</a:t>
            </a:r>
            <a:r>
              <a:rPr lang="en-US" altLang="zh-CN" smtClean="0">
                <a:latin typeface="Arial" pitchFamily="34" charset="0"/>
              </a:rPr>
              <a:t>Citrix</a:t>
            </a:r>
            <a:r>
              <a:rPr lang="zh-CN" altLang="en-US" smtClean="0">
                <a:latin typeface="Arial" pitchFamily="34" charset="0"/>
              </a:rPr>
              <a:t>）、红帽、微软等；硬件厂商包含网络设备、终端设备、存储设备、元器件、服务器等的制造商，如思科、惠普、英特尔等。一般来说，云计算软硬件制造商通过并购或合作等方式成为新的云计算系统集成商的角色，如</a:t>
            </a:r>
            <a:r>
              <a:rPr lang="en-US" altLang="zh-CN" smtClean="0">
                <a:latin typeface="Arial" pitchFamily="34" charset="0"/>
              </a:rPr>
              <a:t>IBM</a:t>
            </a:r>
            <a:r>
              <a:rPr lang="zh-CN" altLang="en-US" smtClean="0">
                <a:latin typeface="Arial" pitchFamily="34" charset="0"/>
              </a:rPr>
              <a:t>、惠普等，同时传统系统集成商也在这一领域占有一席之地。</a:t>
            </a:r>
            <a:endParaRPr lang="en-US" altLang="zh-CN" smtClean="0">
              <a:latin typeface="Arial" pitchFamily="34" charset="0"/>
            </a:endParaRPr>
          </a:p>
          <a:p>
            <a:endParaRPr lang="zh-CN" altLang="en-US" smtClean="0">
              <a:latin typeface="Arial" pitchFamily="34" charset="0"/>
            </a:endParaRPr>
          </a:p>
          <a:p>
            <a:r>
              <a:rPr lang="zh-CN" altLang="en-US" smtClean="0">
                <a:latin typeface="Arial" pitchFamily="34" charset="0"/>
              </a:rPr>
              <a:t>基础设施服务业主要包括为云计算提供承载服务的数据中心和网络。数据中心既包括由电信运营商与数据中心服务商提供的租用式</a:t>
            </a:r>
          </a:p>
          <a:p>
            <a:r>
              <a:rPr lang="zh-CN" altLang="en-US" smtClean="0">
                <a:latin typeface="Arial" pitchFamily="34" charset="0"/>
              </a:rPr>
              <a:t>数据中心，也包括由云服务提供商自建的数据中心。网络提供商目前仍主要是传统的电信运营商，同时谷歌等一些国外云服务提供商也已经开始自建全球性的传输网络。</a:t>
            </a:r>
            <a:endParaRPr lang="en-US" altLang="zh-CN" smtClean="0">
              <a:latin typeface="Arial" pitchFamily="34" charset="0"/>
            </a:endParaRPr>
          </a:p>
          <a:p>
            <a:endParaRPr lang="zh-CN" altLang="en-US" smtClean="0">
              <a:latin typeface="Arial" pitchFamily="34" charset="0"/>
            </a:endParaRPr>
          </a:p>
          <a:p>
            <a:r>
              <a:rPr lang="zh-CN" altLang="en-US" smtClean="0">
                <a:latin typeface="Arial" pitchFamily="34" charset="0"/>
              </a:rPr>
              <a:t>云计算支持产业包括云计算相关的咨询、设计和评估认证机构。传统</a:t>
            </a:r>
            <a:r>
              <a:rPr lang="en-US" altLang="zh-CN" smtClean="0">
                <a:latin typeface="Arial" pitchFamily="34" charset="0"/>
              </a:rPr>
              <a:t>IT </a:t>
            </a:r>
            <a:r>
              <a:rPr lang="zh-CN" altLang="en-US" smtClean="0">
                <a:latin typeface="Arial" pitchFamily="34" charset="0"/>
              </a:rPr>
              <a:t>领域的咨询、设计和评估机构，如</a:t>
            </a:r>
            <a:r>
              <a:rPr lang="en-US" altLang="zh-CN" smtClean="0">
                <a:latin typeface="Arial" pitchFamily="34" charset="0"/>
              </a:rPr>
              <a:t>Uptime</a:t>
            </a:r>
            <a:r>
              <a:rPr lang="zh-CN" altLang="en-US" smtClean="0">
                <a:latin typeface="Arial" pitchFamily="34" charset="0"/>
              </a:rPr>
              <a:t>、</a:t>
            </a:r>
            <a:r>
              <a:rPr lang="en-US" altLang="zh-CN" smtClean="0">
                <a:latin typeface="Arial" pitchFamily="34" charset="0"/>
              </a:rPr>
              <a:t>LEED</a:t>
            </a:r>
            <a:r>
              <a:rPr lang="zh-CN" altLang="en-US" smtClean="0">
                <a:latin typeface="Arial" pitchFamily="34" charset="0"/>
              </a:rPr>
              <a:t>、</a:t>
            </a:r>
            <a:r>
              <a:rPr lang="en-US" altLang="zh-CN" smtClean="0">
                <a:latin typeface="Arial" pitchFamily="34" charset="0"/>
              </a:rPr>
              <a:t>Breeam</a:t>
            </a:r>
            <a:r>
              <a:rPr lang="zh-CN" altLang="en-US" smtClean="0">
                <a:latin typeface="Arial" pitchFamily="34" charset="0"/>
              </a:rPr>
              <a:t>等，均已不同程度的涉足云计算领域。</a:t>
            </a:r>
            <a:endParaRPr lang="en-US" altLang="zh-CN" smtClean="0">
              <a:latin typeface="Arial" pitchFamily="34" charset="0"/>
            </a:endParaRPr>
          </a:p>
          <a:p>
            <a:endParaRPr lang="en-US" altLang="zh-CN" smtClean="0">
              <a:latin typeface="Arial" pitchFamily="34" charset="0"/>
            </a:endParaRPr>
          </a:p>
          <a:p>
            <a:r>
              <a:rPr lang="zh-CN" altLang="en-US" smtClean="0">
                <a:latin typeface="Arial" pitchFamily="34" charset="0"/>
              </a:rPr>
              <a:t>考察云计算的产业特点，全球目前呈现六大阵营，但产业仍然没有成熟。第一大阵营是互联</a:t>
            </a:r>
          </a:p>
          <a:p>
            <a:r>
              <a:rPr lang="zh-CN" altLang="en-US" smtClean="0">
                <a:latin typeface="Arial" pitchFamily="34" charset="0"/>
              </a:rPr>
              <a:t>网公司，提供大规模的云服务。</a:t>
            </a:r>
            <a:r>
              <a:rPr lang="en-US" altLang="zh-CN" smtClean="0">
                <a:latin typeface="Arial" pitchFamily="34" charset="0"/>
              </a:rPr>
              <a:t>Google </a:t>
            </a:r>
            <a:r>
              <a:rPr lang="zh-CN" altLang="en-US" smtClean="0">
                <a:latin typeface="Arial" pitchFamily="34" charset="0"/>
              </a:rPr>
              <a:t>是云计算的领跑者，也拥有最多的实践应用，拥有分布在</a:t>
            </a:r>
          </a:p>
          <a:p>
            <a:r>
              <a:rPr lang="zh-CN" altLang="en-US" smtClean="0">
                <a:latin typeface="Arial" pitchFamily="34" charset="0"/>
              </a:rPr>
              <a:t>超过 </a:t>
            </a:r>
            <a:r>
              <a:rPr lang="en-US" altLang="zh-CN" smtClean="0">
                <a:latin typeface="Arial" pitchFamily="34" charset="0"/>
              </a:rPr>
              <a:t>200 </a:t>
            </a:r>
            <a:r>
              <a:rPr lang="zh-CN" altLang="en-US" smtClean="0">
                <a:latin typeface="Arial" pitchFamily="34" charset="0"/>
              </a:rPr>
              <a:t>个地点、多达 </a:t>
            </a:r>
            <a:r>
              <a:rPr lang="en-US" altLang="zh-CN" smtClean="0">
                <a:latin typeface="Arial" pitchFamily="34" charset="0"/>
              </a:rPr>
              <a:t>100 </a:t>
            </a:r>
            <a:r>
              <a:rPr lang="zh-CN" altLang="en-US" smtClean="0">
                <a:latin typeface="Arial" pitchFamily="34" charset="0"/>
              </a:rPr>
              <a:t>万台以上服务器规模；</a:t>
            </a:r>
            <a:r>
              <a:rPr lang="en-US" altLang="zh-CN" smtClean="0">
                <a:latin typeface="Arial" pitchFamily="34" charset="0"/>
              </a:rPr>
              <a:t>Amazon </a:t>
            </a:r>
            <a:r>
              <a:rPr lang="zh-CN" altLang="en-US" smtClean="0">
                <a:latin typeface="Arial" pitchFamily="34" charset="0"/>
              </a:rPr>
              <a:t>的 </a:t>
            </a:r>
            <a:r>
              <a:rPr lang="en-US" altLang="zh-CN" smtClean="0">
                <a:latin typeface="Arial" pitchFamily="34" charset="0"/>
              </a:rPr>
              <a:t>AWS </a:t>
            </a:r>
            <a:r>
              <a:rPr lang="zh-CN" altLang="en-US" smtClean="0">
                <a:latin typeface="Arial" pitchFamily="34" charset="0"/>
              </a:rPr>
              <a:t>拥有 </a:t>
            </a:r>
            <a:r>
              <a:rPr lang="en-US" altLang="zh-CN" smtClean="0">
                <a:latin typeface="Arial" pitchFamily="34" charset="0"/>
              </a:rPr>
              <a:t>190 </a:t>
            </a:r>
            <a:r>
              <a:rPr lang="zh-CN" altLang="en-US" smtClean="0">
                <a:latin typeface="Arial" pitchFamily="34" charset="0"/>
              </a:rPr>
              <a:t>多个国家的数十万</a:t>
            </a:r>
          </a:p>
          <a:p>
            <a:r>
              <a:rPr lang="zh-CN" altLang="en-US" smtClean="0">
                <a:latin typeface="Arial" pitchFamily="34" charset="0"/>
              </a:rPr>
              <a:t>用户，成为目前最成功的 </a:t>
            </a:r>
            <a:r>
              <a:rPr lang="en-US" altLang="zh-CN" smtClean="0">
                <a:latin typeface="Arial" pitchFamily="34" charset="0"/>
              </a:rPr>
              <a:t>IaaS </a:t>
            </a:r>
            <a:r>
              <a:rPr lang="zh-CN" altLang="en-US" smtClean="0">
                <a:latin typeface="Arial" pitchFamily="34" charset="0"/>
              </a:rPr>
              <a:t>服务提供商。第二大阵营是 </a:t>
            </a:r>
            <a:r>
              <a:rPr lang="en-US" altLang="zh-CN" smtClean="0">
                <a:latin typeface="Arial" pitchFamily="34" charset="0"/>
              </a:rPr>
              <a:t>IT </a:t>
            </a:r>
            <a:r>
              <a:rPr lang="zh-CN" altLang="en-US" smtClean="0">
                <a:latin typeface="Arial" pitchFamily="34" charset="0"/>
              </a:rPr>
              <a:t>公司，提供企业私有云相关的解决</a:t>
            </a:r>
          </a:p>
          <a:p>
            <a:r>
              <a:rPr lang="zh-CN" altLang="en-US" smtClean="0">
                <a:latin typeface="Arial" pitchFamily="34" charset="0"/>
              </a:rPr>
              <a:t>方案。以微软、</a:t>
            </a:r>
            <a:r>
              <a:rPr lang="en-US" altLang="zh-CN" smtClean="0">
                <a:latin typeface="Arial" pitchFamily="34" charset="0"/>
              </a:rPr>
              <a:t>IBM </a:t>
            </a:r>
            <a:r>
              <a:rPr lang="zh-CN" altLang="en-US" smtClean="0">
                <a:latin typeface="Arial" pitchFamily="34" charset="0"/>
              </a:rPr>
              <a:t>为代表的 </a:t>
            </a:r>
            <a:r>
              <a:rPr lang="en-US" altLang="zh-CN" smtClean="0">
                <a:latin typeface="Arial" pitchFamily="34" charset="0"/>
              </a:rPr>
              <a:t>IT </a:t>
            </a:r>
            <a:r>
              <a:rPr lang="zh-CN" altLang="en-US" smtClean="0">
                <a:latin typeface="Arial" pitchFamily="34" charset="0"/>
              </a:rPr>
              <a:t>巨头投入巨资实现产品和服务向云计算的转型，如 </a:t>
            </a:r>
            <a:r>
              <a:rPr lang="en-US" altLang="zh-CN" smtClean="0">
                <a:latin typeface="Arial" pitchFamily="34" charset="0"/>
              </a:rPr>
              <a:t>IBM </a:t>
            </a:r>
            <a:r>
              <a:rPr lang="zh-CN" altLang="en-US" smtClean="0">
                <a:latin typeface="Arial" pitchFamily="34" charset="0"/>
              </a:rPr>
              <a:t>的蓝云、</a:t>
            </a:r>
          </a:p>
          <a:p>
            <a:r>
              <a:rPr lang="zh-CN" altLang="en-US" smtClean="0">
                <a:latin typeface="Arial" pitchFamily="34" charset="0"/>
              </a:rPr>
              <a:t>微软的 </a:t>
            </a:r>
            <a:r>
              <a:rPr lang="en-US" altLang="zh-CN" smtClean="0">
                <a:latin typeface="Arial" pitchFamily="34" charset="0"/>
              </a:rPr>
              <a:t>Azure </a:t>
            </a:r>
            <a:r>
              <a:rPr lang="zh-CN" altLang="en-US" smtClean="0">
                <a:latin typeface="Arial" pitchFamily="34" charset="0"/>
              </a:rPr>
              <a:t>等。第三大阵营是电信运营商，主要提供 </a:t>
            </a:r>
            <a:r>
              <a:rPr lang="en-US" altLang="zh-CN" smtClean="0">
                <a:latin typeface="Arial" pitchFamily="34" charset="0"/>
              </a:rPr>
              <a:t>IaaS</a:t>
            </a:r>
            <a:r>
              <a:rPr lang="zh-CN" altLang="en-US" smtClean="0">
                <a:latin typeface="Arial" pitchFamily="34" charset="0"/>
              </a:rPr>
              <a:t>、桌面云等基础设施服务。国外主要</a:t>
            </a:r>
          </a:p>
          <a:p>
            <a:r>
              <a:rPr lang="zh-CN" altLang="en-US" smtClean="0">
                <a:latin typeface="Arial" pitchFamily="34" charset="0"/>
              </a:rPr>
              <a:t>的电信运营商已开始提供云服务，如 </a:t>
            </a:r>
            <a:r>
              <a:rPr lang="en-US" altLang="zh-CN" smtClean="0">
                <a:latin typeface="Arial" pitchFamily="34" charset="0"/>
              </a:rPr>
              <a:t>AT&amp;T </a:t>
            </a:r>
            <a:r>
              <a:rPr lang="zh-CN" altLang="en-US" smtClean="0">
                <a:latin typeface="Arial" pitchFamily="34" charset="0"/>
              </a:rPr>
              <a:t>的 </a:t>
            </a:r>
            <a:r>
              <a:rPr lang="en-US" altLang="zh-CN" smtClean="0">
                <a:latin typeface="Arial" pitchFamily="34" charset="0"/>
              </a:rPr>
              <a:t>Synaptic</a:t>
            </a:r>
            <a:r>
              <a:rPr lang="zh-CN" altLang="en-US" smtClean="0">
                <a:latin typeface="Arial" pitchFamily="34" charset="0"/>
              </a:rPr>
              <a:t>、</a:t>
            </a:r>
            <a:r>
              <a:rPr lang="en-US" altLang="zh-CN" smtClean="0">
                <a:latin typeface="Arial" pitchFamily="34" charset="0"/>
              </a:rPr>
              <a:t>NTT </a:t>
            </a:r>
            <a:r>
              <a:rPr lang="zh-CN" altLang="en-US" smtClean="0">
                <a:latin typeface="Arial" pitchFamily="34" charset="0"/>
              </a:rPr>
              <a:t>的 </a:t>
            </a:r>
            <a:r>
              <a:rPr lang="en-US" altLang="zh-CN" smtClean="0">
                <a:latin typeface="Arial" pitchFamily="34" charset="0"/>
              </a:rPr>
              <a:t>BizCity </a:t>
            </a:r>
            <a:r>
              <a:rPr lang="zh-CN" altLang="en-US" smtClean="0">
                <a:latin typeface="Arial" pitchFamily="34" charset="0"/>
              </a:rPr>
              <a:t>等。第四大阵营是软件公司，将软件变为服务，从卖 </a:t>
            </a:r>
            <a:r>
              <a:rPr lang="en-US" altLang="zh-CN" smtClean="0">
                <a:latin typeface="Arial" pitchFamily="34" charset="0"/>
              </a:rPr>
              <a:t>Licenese </a:t>
            </a:r>
            <a:r>
              <a:rPr lang="zh-CN" altLang="en-US" smtClean="0">
                <a:latin typeface="Arial" pitchFamily="34" charset="0"/>
              </a:rPr>
              <a:t>到卖套装软件到通过互联网提供产品及服务，例如甲骨文</a:t>
            </a:r>
          </a:p>
          <a:p>
            <a:r>
              <a:rPr lang="en-US" altLang="zh-CN" smtClean="0">
                <a:latin typeface="Arial" pitchFamily="34" charset="0"/>
              </a:rPr>
              <a:t>Oracle on Demand </a:t>
            </a:r>
            <a:r>
              <a:rPr lang="zh-CN" altLang="en-US" smtClean="0">
                <a:latin typeface="Arial" pitchFamily="34" charset="0"/>
              </a:rPr>
              <a:t>等 </a:t>
            </a:r>
            <a:r>
              <a:rPr lang="en-US" altLang="zh-CN" smtClean="0">
                <a:latin typeface="Arial" pitchFamily="34" charset="0"/>
              </a:rPr>
              <a:t>SaaS</a:t>
            </a:r>
            <a:r>
              <a:rPr lang="zh-CN" altLang="en-US" smtClean="0">
                <a:latin typeface="Arial" pitchFamily="34" charset="0"/>
              </a:rPr>
              <a:t>、</a:t>
            </a:r>
            <a:r>
              <a:rPr lang="en-US" altLang="zh-CN" smtClean="0">
                <a:latin typeface="Arial" pitchFamily="34" charset="0"/>
              </a:rPr>
              <a:t>PaaS </a:t>
            </a:r>
            <a:r>
              <a:rPr lang="zh-CN" altLang="en-US" smtClean="0">
                <a:latin typeface="Arial" pitchFamily="34" charset="0"/>
              </a:rPr>
              <a:t>平台服务、和 </a:t>
            </a:r>
            <a:r>
              <a:rPr lang="en-US" altLang="zh-CN" smtClean="0">
                <a:latin typeface="Arial" pitchFamily="34" charset="0"/>
              </a:rPr>
              <a:t>Amazon </a:t>
            </a:r>
            <a:r>
              <a:rPr lang="zh-CN" altLang="en-US" smtClean="0">
                <a:latin typeface="Arial" pitchFamily="34" charset="0"/>
              </a:rPr>
              <a:t>合作推出的云计算产品和服务。第五</a:t>
            </a:r>
          </a:p>
          <a:p>
            <a:r>
              <a:rPr lang="zh-CN" altLang="en-US" smtClean="0">
                <a:latin typeface="Arial" pitchFamily="34" charset="0"/>
              </a:rPr>
              <a:t>大阵营是终端厂商，他们尝试控制云和端，如苹果发布 </a:t>
            </a:r>
            <a:r>
              <a:rPr lang="en-US" altLang="zh-CN" smtClean="0">
                <a:latin typeface="Arial" pitchFamily="34" charset="0"/>
              </a:rPr>
              <a:t>iCloud</a:t>
            </a:r>
            <a:r>
              <a:rPr lang="zh-CN" altLang="en-US" smtClean="0">
                <a:latin typeface="Arial" pitchFamily="34" charset="0"/>
              </a:rPr>
              <a:t>、</a:t>
            </a:r>
            <a:r>
              <a:rPr lang="en-US" altLang="zh-CN" smtClean="0">
                <a:latin typeface="Arial" pitchFamily="34" charset="0"/>
              </a:rPr>
              <a:t>Google </a:t>
            </a:r>
            <a:r>
              <a:rPr lang="zh-CN" altLang="en-US" smtClean="0">
                <a:latin typeface="Arial" pitchFamily="34" charset="0"/>
              </a:rPr>
              <a:t>收购摩托罗拉移动，都希</a:t>
            </a:r>
          </a:p>
          <a:p>
            <a:r>
              <a:rPr lang="zh-CN" altLang="en-US" smtClean="0">
                <a:latin typeface="Arial" pitchFamily="34" charset="0"/>
              </a:rPr>
              <a:t>望能够在端和云方面进行整体化的控制。第六大阵营是电信设备商，他们正在向 </a:t>
            </a:r>
            <a:r>
              <a:rPr lang="en-US" altLang="zh-CN" smtClean="0">
                <a:latin typeface="Arial" pitchFamily="34" charset="0"/>
              </a:rPr>
              <a:t>IT </a:t>
            </a:r>
            <a:r>
              <a:rPr lang="zh-CN" altLang="en-US" smtClean="0">
                <a:latin typeface="Arial" pitchFamily="34" charset="0"/>
              </a:rPr>
              <a:t>领域渗透，例</a:t>
            </a:r>
          </a:p>
          <a:p>
            <a:r>
              <a:rPr lang="zh-CN" altLang="en-US" smtClean="0">
                <a:latin typeface="Arial" pitchFamily="34" charset="0"/>
              </a:rPr>
              <a:t>如思科的统一计算系统 </a:t>
            </a:r>
            <a:r>
              <a:rPr lang="en-US" altLang="zh-CN" smtClean="0">
                <a:latin typeface="Arial" pitchFamily="34" charset="0"/>
              </a:rPr>
              <a:t>UCS </a:t>
            </a:r>
            <a:r>
              <a:rPr lang="zh-CN" altLang="en-US" smtClean="0">
                <a:latin typeface="Arial" pitchFamily="34" charset="0"/>
              </a:rPr>
              <a:t>到 </a:t>
            </a:r>
            <a:r>
              <a:rPr lang="en-US" altLang="zh-CN" smtClean="0">
                <a:latin typeface="Arial" pitchFamily="34" charset="0"/>
              </a:rPr>
              <a:t>2011 </a:t>
            </a:r>
            <a:r>
              <a:rPr lang="zh-CN" altLang="en-US" smtClean="0">
                <a:latin typeface="Arial" pitchFamily="34" charset="0"/>
              </a:rPr>
              <a:t>年 </a:t>
            </a:r>
            <a:r>
              <a:rPr lang="en-US" altLang="zh-CN" smtClean="0">
                <a:latin typeface="Arial" pitchFamily="34" charset="0"/>
              </a:rPr>
              <a:t>8 </a:t>
            </a:r>
            <a:r>
              <a:rPr lang="zh-CN" altLang="en-US" smtClean="0">
                <a:latin typeface="Arial" pitchFamily="34" charset="0"/>
              </a:rPr>
              <a:t>月客户数已经达到 </a:t>
            </a:r>
            <a:r>
              <a:rPr lang="en-US" altLang="zh-CN" smtClean="0">
                <a:latin typeface="Arial" pitchFamily="34" charset="0"/>
              </a:rPr>
              <a:t>7400 </a:t>
            </a:r>
            <a:r>
              <a:rPr lang="zh-CN" altLang="en-US" smtClean="0">
                <a:latin typeface="Arial" pitchFamily="34" charset="0"/>
              </a:rPr>
              <a:t>家，华为也发布了云帆计划，</a:t>
            </a:r>
          </a:p>
          <a:p>
            <a:r>
              <a:rPr lang="zh-CN" altLang="en-US" smtClean="0">
                <a:latin typeface="Arial" pitchFamily="34" charset="0"/>
              </a:rPr>
              <a:t>构建云计算平台、推动业务与应用云化和推动开放合作。</a:t>
            </a:r>
          </a:p>
        </p:txBody>
      </p:sp>
      <p:sp>
        <p:nvSpPr>
          <p:cNvPr id="4506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1564D68F-0A26-4EAD-9533-6D4F48157FF3}" type="slidenum">
              <a:rPr lang="en-US" altLang="zh-CN" b="0" smtClean="0">
                <a:latin typeface="Arial" pitchFamily="34" charset="0"/>
                <a:ea typeface="宋体" pitchFamily="2" charset="-122"/>
              </a:rPr>
              <a:pPr eaLnBrk="1" hangingPunct="1"/>
              <a:t>7</a:t>
            </a:fld>
            <a:endParaRPr lang="en-US" altLang="zh-CN" b="0" smtClean="0">
              <a:latin typeface="Arial" pitchFamily="34" charset="0"/>
              <a:ea typeface="宋体" pitchFamily="2" charset="-122"/>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幻灯片图像占位符 1"/>
          <p:cNvSpPr>
            <a:spLocks noGrp="1" noRot="1" noChangeAspect="1" noTextEdit="1"/>
          </p:cNvSpPr>
          <p:nvPr>
            <p:ph type="sldImg"/>
          </p:nvPr>
        </p:nvSpPr>
        <p:spPr>
          <a:ln/>
        </p:spPr>
      </p:sp>
      <p:sp>
        <p:nvSpPr>
          <p:cNvPr id="46083"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smtClean="0">
                <a:latin typeface="Arial" pitchFamily="34" charset="0"/>
              </a:rPr>
              <a:t>全球云计算产业虽处于发展初期， 市场规模不大， 但将会引导传统全球云计算产业虽处于发展初期， 市场规模不大， 但将会引导传统 </a:t>
            </a:r>
            <a:r>
              <a:rPr lang="en-US" altLang="zh-CN" smtClean="0">
                <a:latin typeface="Arial" pitchFamily="34" charset="0"/>
              </a:rPr>
              <a:t>ICT </a:t>
            </a:r>
            <a:r>
              <a:rPr lang="zh-CN" altLang="en-US" smtClean="0">
                <a:latin typeface="Arial" pitchFamily="34" charset="0"/>
              </a:rPr>
              <a:t>产业向社会化服务转型，未来发展空间十分广阔。美国云服务市场规模约占全球</a:t>
            </a:r>
            <a:r>
              <a:rPr lang="en-US" altLang="zh-CN" smtClean="0">
                <a:latin typeface="Arial" pitchFamily="34" charset="0"/>
              </a:rPr>
              <a:t>60%</a:t>
            </a:r>
            <a:r>
              <a:rPr lang="zh-CN" altLang="en-US" smtClean="0">
                <a:latin typeface="Arial" pitchFamily="34" charset="0"/>
              </a:rPr>
              <a:t>，远高于欧洲（</a:t>
            </a:r>
            <a:r>
              <a:rPr lang="en-US" altLang="zh-CN" smtClean="0">
                <a:latin typeface="Arial" pitchFamily="34" charset="0"/>
              </a:rPr>
              <a:t>24.7%</a:t>
            </a:r>
            <a:r>
              <a:rPr lang="zh-CN" altLang="en-US" smtClean="0">
                <a:latin typeface="Arial" pitchFamily="34" charset="0"/>
              </a:rPr>
              <a:t>）和日本（</a:t>
            </a:r>
            <a:r>
              <a:rPr lang="en-US" altLang="zh-CN" smtClean="0">
                <a:latin typeface="Arial" pitchFamily="34" charset="0"/>
              </a:rPr>
              <a:t>10%</a:t>
            </a:r>
            <a:r>
              <a:rPr lang="zh-CN" altLang="en-US" smtClean="0">
                <a:latin typeface="Arial" pitchFamily="34" charset="0"/>
              </a:rPr>
              <a:t>）等国家和地区。云计算服务市场规模总量目前仅占全球 </a:t>
            </a:r>
            <a:r>
              <a:rPr lang="en-US" altLang="zh-CN" smtClean="0">
                <a:latin typeface="Arial" pitchFamily="34" charset="0"/>
              </a:rPr>
              <a:t>ICT </a:t>
            </a:r>
            <a:r>
              <a:rPr lang="zh-CN" altLang="en-US" smtClean="0">
                <a:latin typeface="Arial" pitchFamily="34" charset="0"/>
              </a:rPr>
              <a:t>市场总量的 </a:t>
            </a:r>
            <a:r>
              <a:rPr lang="en-US" altLang="zh-CN" smtClean="0">
                <a:latin typeface="Arial" pitchFamily="34" charset="0"/>
              </a:rPr>
              <a:t>1/40</a:t>
            </a:r>
            <a:r>
              <a:rPr lang="zh-CN" altLang="en-US" smtClean="0">
                <a:latin typeface="Arial" pitchFamily="34" charset="0"/>
              </a:rPr>
              <a:t>，但增长迅猛，未来几年年均增长率预计将超过 </a:t>
            </a:r>
            <a:r>
              <a:rPr lang="en-US" altLang="zh-CN" smtClean="0">
                <a:latin typeface="Arial" pitchFamily="34" charset="0"/>
              </a:rPr>
              <a:t>20%</a:t>
            </a:r>
            <a:r>
              <a:rPr lang="zh-CN" altLang="en-US" smtClean="0">
                <a:latin typeface="Arial" pitchFamily="34" charset="0"/>
              </a:rPr>
              <a:t>。</a:t>
            </a:r>
          </a:p>
        </p:txBody>
      </p:sp>
      <p:sp>
        <p:nvSpPr>
          <p:cNvPr id="46084"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AA541A20-3C92-46A7-8A3F-1CF32EF0AAF2}" type="slidenum">
              <a:rPr lang="en-US" altLang="zh-CN" b="0" smtClean="0">
                <a:latin typeface="Arial" pitchFamily="34" charset="0"/>
                <a:ea typeface="宋体" pitchFamily="2" charset="-122"/>
              </a:rPr>
              <a:pPr eaLnBrk="1" hangingPunct="1"/>
              <a:t>8</a:t>
            </a:fld>
            <a:endParaRPr lang="en-US" altLang="zh-CN" b="0" smtClean="0">
              <a:latin typeface="Arial" pitchFamily="34" charset="0"/>
              <a:ea typeface="宋体" pitchFamily="2" charset="-122"/>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smtClean="0">
                <a:latin typeface="Arial" pitchFamily="34" charset="0"/>
              </a:rPr>
              <a:t>我国云计算服务市场处于起步阶段， 云计算技术与设备已经具备一定的发展基础。</a:t>
            </a:r>
            <a:endParaRPr lang="en-US" altLang="zh-CN" smtClean="0">
              <a:latin typeface="Arial" pitchFamily="34" charset="0"/>
            </a:endParaRPr>
          </a:p>
          <a:p>
            <a:r>
              <a:rPr lang="zh-CN" altLang="en-US" smtClean="0">
                <a:latin typeface="Arial" pitchFamily="34" charset="0"/>
              </a:rPr>
              <a:t>大型互联网企业是目前国内主要的云计算服务提供商， 业务形式以 </a:t>
            </a:r>
            <a:r>
              <a:rPr lang="en-US" altLang="zh-CN" smtClean="0">
                <a:latin typeface="Arial" pitchFamily="34" charset="0"/>
              </a:rPr>
              <a:t>IaaS+PaaS </a:t>
            </a:r>
            <a:r>
              <a:rPr lang="zh-CN" altLang="en-US" smtClean="0">
                <a:latin typeface="Arial" pitchFamily="34" charset="0"/>
              </a:rPr>
              <a:t>形式的开放平台服务为主，其中 </a:t>
            </a:r>
            <a:r>
              <a:rPr lang="en-US" altLang="zh-CN" smtClean="0">
                <a:latin typeface="Arial" pitchFamily="34" charset="0"/>
              </a:rPr>
              <a:t>IaaS </a:t>
            </a:r>
            <a:r>
              <a:rPr lang="zh-CN" altLang="en-US" smtClean="0">
                <a:latin typeface="Arial" pitchFamily="34" charset="0"/>
              </a:rPr>
              <a:t>服务相对较为成熟，服务相对较为成熟，</a:t>
            </a:r>
            <a:r>
              <a:rPr lang="en-US" altLang="zh-CN" smtClean="0">
                <a:latin typeface="Arial" pitchFamily="34" charset="0"/>
              </a:rPr>
              <a:t>PaaS </a:t>
            </a:r>
            <a:r>
              <a:rPr lang="zh-CN" altLang="en-US" smtClean="0">
                <a:latin typeface="Arial" pitchFamily="34" charset="0"/>
              </a:rPr>
              <a:t>服务初具雏形。我国大型互联网企业开发了云主机、云存储、开放数据库等基础 </a:t>
            </a:r>
            <a:r>
              <a:rPr lang="en-US" altLang="zh-CN" smtClean="0">
                <a:latin typeface="Arial" pitchFamily="34" charset="0"/>
              </a:rPr>
              <a:t>IT </a:t>
            </a:r>
            <a:r>
              <a:rPr lang="zh-CN" altLang="en-US" smtClean="0">
                <a:latin typeface="Arial" pitchFamily="34" charset="0"/>
              </a:rPr>
              <a:t>资源服务，以及网站云、游戏云等一站式托管服务。一些互联网公司自主推出了 </a:t>
            </a:r>
            <a:r>
              <a:rPr lang="en-US" altLang="zh-CN" smtClean="0">
                <a:latin typeface="Arial" pitchFamily="34" charset="0"/>
              </a:rPr>
              <a:t>PaaS </a:t>
            </a:r>
            <a:r>
              <a:rPr lang="zh-CN" altLang="en-US" smtClean="0">
                <a:latin typeface="Arial" pitchFamily="34" charset="0"/>
              </a:rPr>
              <a:t>云平台，并向企业和开发者开放，其中数家企业的 </a:t>
            </a:r>
            <a:r>
              <a:rPr lang="en-US" altLang="zh-CN" smtClean="0">
                <a:latin typeface="Arial" pitchFamily="34" charset="0"/>
              </a:rPr>
              <a:t>PaaS </a:t>
            </a:r>
            <a:r>
              <a:rPr lang="zh-CN" altLang="en-US" smtClean="0">
                <a:latin typeface="Arial" pitchFamily="34" charset="0"/>
              </a:rPr>
              <a:t>平台已经吸引了数十万的开发者入驻，通过分成方式与开发者实现了共赢。</a:t>
            </a:r>
            <a:endParaRPr lang="en-US" altLang="zh-CN" smtClean="0">
              <a:latin typeface="Arial" pitchFamily="34" charset="0"/>
            </a:endParaRPr>
          </a:p>
          <a:p>
            <a:r>
              <a:rPr lang="en-US" altLang="zh-CN" smtClean="0">
                <a:latin typeface="Arial" pitchFamily="34" charset="0"/>
              </a:rPr>
              <a:t>ICT </a:t>
            </a:r>
            <a:r>
              <a:rPr lang="zh-CN" altLang="en-US" smtClean="0">
                <a:latin typeface="Arial" pitchFamily="34" charset="0"/>
              </a:rPr>
              <a:t>制造商在云计算专用服务器、 存储设备以及企业私有云解决方案的技术研发上具备了相当的实力。</a:t>
            </a:r>
            <a:endParaRPr lang="en-US" altLang="zh-CN" smtClean="0">
              <a:latin typeface="Arial" pitchFamily="34" charset="0"/>
            </a:endParaRPr>
          </a:p>
          <a:p>
            <a:r>
              <a:rPr lang="zh-CN" altLang="en-US" smtClean="0">
                <a:latin typeface="Arial" pitchFamily="34" charset="0"/>
              </a:rPr>
              <a:t>软件厂商逐渐转向云计算领域， 开始提供 </a:t>
            </a:r>
            <a:r>
              <a:rPr lang="en-US" altLang="zh-CN" smtClean="0">
                <a:latin typeface="Arial" pitchFamily="34" charset="0"/>
              </a:rPr>
              <a:t>SaaS </a:t>
            </a:r>
            <a:r>
              <a:rPr lang="zh-CN" altLang="en-US" smtClean="0">
                <a:latin typeface="Arial" pitchFamily="34" charset="0"/>
              </a:rPr>
              <a:t>服务， 并向 </a:t>
            </a:r>
            <a:r>
              <a:rPr lang="en-US" altLang="zh-CN" smtClean="0">
                <a:latin typeface="Arial" pitchFamily="34" charset="0"/>
              </a:rPr>
              <a:t>PaaS</a:t>
            </a:r>
            <a:r>
              <a:rPr lang="zh-CN" altLang="en-US" smtClean="0">
                <a:latin typeface="Arial" pitchFamily="34" charset="0"/>
              </a:rPr>
              <a:t>领域扩展。</a:t>
            </a:r>
            <a:endParaRPr lang="en-US" altLang="zh-CN" smtClean="0">
              <a:latin typeface="Arial" pitchFamily="34" charset="0"/>
            </a:endParaRPr>
          </a:p>
          <a:p>
            <a:r>
              <a:rPr lang="zh-CN" altLang="en-US" smtClean="0">
                <a:latin typeface="Arial" pitchFamily="34" charset="0"/>
              </a:rPr>
              <a:t>电信运营商依托网络和数据中心的优势，主要通过 </a:t>
            </a:r>
            <a:r>
              <a:rPr lang="en-US" altLang="zh-CN" smtClean="0">
                <a:latin typeface="Arial" pitchFamily="34" charset="0"/>
              </a:rPr>
              <a:t>IaaS </a:t>
            </a:r>
            <a:r>
              <a:rPr lang="zh-CN" altLang="en-US" smtClean="0">
                <a:latin typeface="Arial" pitchFamily="34" charset="0"/>
              </a:rPr>
              <a:t>服务进入云计算市场。中国电信于 </a:t>
            </a:r>
            <a:r>
              <a:rPr lang="en-US" altLang="zh-CN" smtClean="0">
                <a:latin typeface="Arial" pitchFamily="34" charset="0"/>
              </a:rPr>
              <a:t>2011 </a:t>
            </a:r>
            <a:r>
              <a:rPr lang="zh-CN" altLang="en-US" smtClean="0">
                <a:latin typeface="Arial" pitchFamily="34" charset="0"/>
              </a:rPr>
              <a:t>年 </a:t>
            </a:r>
            <a:r>
              <a:rPr lang="en-US" altLang="zh-CN" smtClean="0">
                <a:latin typeface="Arial" pitchFamily="34" charset="0"/>
              </a:rPr>
              <a:t>8 </a:t>
            </a:r>
            <a:r>
              <a:rPr lang="zh-CN" altLang="en-US" smtClean="0">
                <a:latin typeface="Arial" pitchFamily="34" charset="0"/>
              </a:rPr>
              <a:t>月发布天翼云计算战略、品牌及解决方案，</a:t>
            </a:r>
            <a:r>
              <a:rPr lang="en-US" altLang="zh-CN" smtClean="0">
                <a:latin typeface="Arial" pitchFamily="34" charset="0"/>
              </a:rPr>
              <a:t>2012 </a:t>
            </a:r>
            <a:r>
              <a:rPr lang="zh-CN" altLang="en-US" smtClean="0">
                <a:latin typeface="Arial" pitchFamily="34" charset="0"/>
              </a:rPr>
              <a:t>年将提供云主机、云存储等 </a:t>
            </a:r>
            <a:r>
              <a:rPr lang="en-US" altLang="zh-CN" smtClean="0">
                <a:latin typeface="Arial" pitchFamily="34" charset="0"/>
              </a:rPr>
              <a:t>IaaS </a:t>
            </a:r>
            <a:r>
              <a:rPr lang="zh-CN" altLang="en-US" smtClean="0">
                <a:latin typeface="Arial" pitchFamily="34" charset="0"/>
              </a:rPr>
              <a:t>服务，未来还将提供云化的电子商务领航等 </a:t>
            </a:r>
            <a:r>
              <a:rPr lang="en-US" altLang="zh-CN" smtClean="0">
                <a:latin typeface="Arial" pitchFamily="34" charset="0"/>
              </a:rPr>
              <a:t>SaaS </a:t>
            </a:r>
            <a:r>
              <a:rPr lang="zh-CN" altLang="en-US" smtClean="0">
                <a:latin typeface="Arial" pitchFamily="34" charset="0"/>
              </a:rPr>
              <a:t>服务和开放的 </a:t>
            </a:r>
            <a:r>
              <a:rPr lang="en-US" altLang="zh-CN" smtClean="0">
                <a:latin typeface="Arial" pitchFamily="34" charset="0"/>
              </a:rPr>
              <a:t>PaaS </a:t>
            </a:r>
            <a:r>
              <a:rPr lang="zh-CN" altLang="en-US" smtClean="0">
                <a:latin typeface="Arial" pitchFamily="34" charset="0"/>
              </a:rPr>
              <a:t>服务平台。 中国移动自 </a:t>
            </a:r>
            <a:r>
              <a:rPr lang="en-US" altLang="zh-CN" smtClean="0">
                <a:latin typeface="Arial" pitchFamily="34" charset="0"/>
              </a:rPr>
              <a:t>2007</a:t>
            </a:r>
            <a:r>
              <a:rPr lang="zh-CN" altLang="en-US" smtClean="0">
                <a:latin typeface="Arial" pitchFamily="34" charset="0"/>
              </a:rPr>
              <a:t>年起开始搭建大云（</a:t>
            </a:r>
            <a:r>
              <a:rPr lang="en-US" altLang="zh-CN" smtClean="0">
                <a:latin typeface="Arial" pitchFamily="34" charset="0"/>
              </a:rPr>
              <a:t>Big Cloud</a:t>
            </a:r>
            <a:r>
              <a:rPr lang="zh-CN" altLang="en-US" smtClean="0">
                <a:latin typeface="Arial" pitchFamily="34" charset="0"/>
              </a:rPr>
              <a:t>）平台， </a:t>
            </a:r>
            <a:r>
              <a:rPr lang="en-US" altLang="zh-CN" smtClean="0">
                <a:latin typeface="Arial" pitchFamily="34" charset="0"/>
              </a:rPr>
              <a:t>2011</a:t>
            </a:r>
            <a:r>
              <a:rPr lang="zh-CN" altLang="en-US" smtClean="0">
                <a:latin typeface="Arial" pitchFamily="34" charset="0"/>
              </a:rPr>
              <a:t>年 </a:t>
            </a:r>
            <a:r>
              <a:rPr lang="en-US" altLang="zh-CN" smtClean="0">
                <a:latin typeface="Arial" pitchFamily="34" charset="0"/>
              </a:rPr>
              <a:t>11</a:t>
            </a:r>
            <a:r>
              <a:rPr lang="zh-CN" altLang="en-US" smtClean="0">
                <a:latin typeface="Arial" pitchFamily="34" charset="0"/>
              </a:rPr>
              <a:t>月发布了大云 </a:t>
            </a:r>
            <a:r>
              <a:rPr lang="en-US" altLang="zh-CN" smtClean="0">
                <a:latin typeface="Arial" pitchFamily="34" charset="0"/>
              </a:rPr>
              <a:t>1.5</a:t>
            </a:r>
            <a:r>
              <a:rPr lang="zh-CN" altLang="en-US" smtClean="0">
                <a:latin typeface="Arial" pitchFamily="34" charset="0"/>
              </a:rPr>
              <a:t>版本，移动 </a:t>
            </a:r>
            <a:r>
              <a:rPr lang="en-US" altLang="zh-CN" smtClean="0">
                <a:latin typeface="Arial" pitchFamily="34" charset="0"/>
              </a:rPr>
              <a:t>MM </a:t>
            </a:r>
            <a:r>
              <a:rPr lang="zh-CN" altLang="en-US" smtClean="0">
                <a:latin typeface="Arial" pitchFamily="34" charset="0"/>
              </a:rPr>
              <a:t>等业务将在未来迁移至大云平台。中国联通则自主研发了面向个人、 企业和政府用户的云计算服务 “沃</a:t>
            </a:r>
            <a:r>
              <a:rPr lang="en-US" altLang="zh-CN" smtClean="0">
                <a:latin typeface="Arial" pitchFamily="34" charset="0"/>
              </a:rPr>
              <a:t>·</a:t>
            </a:r>
            <a:r>
              <a:rPr lang="zh-CN" altLang="en-US" smtClean="0">
                <a:latin typeface="Arial" pitchFamily="34" charset="0"/>
              </a:rPr>
              <a:t>云” 。目前“沃</a:t>
            </a:r>
            <a:r>
              <a:rPr lang="en-US" altLang="zh-CN" smtClean="0">
                <a:latin typeface="Arial" pitchFamily="34" charset="0"/>
              </a:rPr>
              <a:t>·</a:t>
            </a:r>
            <a:r>
              <a:rPr lang="zh-CN" altLang="en-US" smtClean="0">
                <a:latin typeface="Arial" pitchFamily="34" charset="0"/>
              </a:rPr>
              <a:t>云”业务主要以存储服务为主，实现了用户信息和文件在多个设备上的协同功能，以及文件、资料的集中存储和安全保管。</a:t>
            </a:r>
            <a:endParaRPr lang="en-US" altLang="zh-CN" smtClean="0">
              <a:latin typeface="Arial" pitchFamily="34" charset="0"/>
            </a:endParaRPr>
          </a:p>
          <a:p>
            <a:endParaRPr lang="zh-CN" altLang="en-US"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幻灯片图像占位符 1"/>
          <p:cNvSpPr>
            <a:spLocks noGrp="1" noRot="1" noChangeAspect="1" noTextEdit="1"/>
          </p:cNvSpPr>
          <p:nvPr>
            <p:ph type="sldImg"/>
          </p:nvPr>
        </p:nvSpPr>
        <p:spPr>
          <a:ln/>
        </p:spPr>
      </p:sp>
      <p:sp>
        <p:nvSpPr>
          <p:cNvPr id="48131"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zh-CN" altLang="en-US" smtClean="0">
                <a:solidFill>
                  <a:schemeClr val="bg1"/>
                </a:solidFill>
                <a:latin typeface="黑体" pitchFamily="49" charset="-122"/>
                <a:ea typeface="黑体" pitchFamily="49" charset="-122"/>
                <a:sym typeface="Wingdings" pitchFamily="2" charset="2"/>
              </a:rPr>
              <a:t></a:t>
            </a:r>
            <a:r>
              <a:rPr lang="en-US" altLang="zh-CN" smtClean="0">
                <a:solidFill>
                  <a:schemeClr val="bg1"/>
                </a:solidFill>
                <a:latin typeface="黑体" pitchFamily="49" charset="-122"/>
                <a:ea typeface="黑体" pitchFamily="49" charset="-122"/>
              </a:rPr>
              <a:t>3G</a:t>
            </a:r>
            <a:r>
              <a:rPr lang="zh-CN" altLang="en-US" smtClean="0">
                <a:solidFill>
                  <a:schemeClr val="bg1"/>
                </a:solidFill>
                <a:latin typeface="黑体" pitchFamily="49" charset="-122"/>
                <a:ea typeface="黑体" pitchFamily="49" charset="-122"/>
              </a:rPr>
              <a:t>将为云计算带来数以亿计的宽带移动用户。用户的终端计算能力和存储空间有限，却有很强的联网能力，对云计算有着天然的需求</a:t>
            </a:r>
          </a:p>
          <a:p>
            <a:r>
              <a:rPr lang="zh-CN" altLang="en-US" smtClean="0">
                <a:solidFill>
                  <a:schemeClr val="bg1"/>
                </a:solidFill>
                <a:latin typeface="黑体" pitchFamily="49" charset="-122"/>
                <a:ea typeface="黑体" pitchFamily="49" charset="-122"/>
                <a:sym typeface="Wingdings" pitchFamily="2" charset="2"/>
              </a:rPr>
              <a:t></a:t>
            </a:r>
            <a:r>
              <a:rPr lang="zh-CN" altLang="en-US" smtClean="0">
                <a:solidFill>
                  <a:schemeClr val="bg1"/>
                </a:solidFill>
                <a:latin typeface="黑体" pitchFamily="49" charset="-122"/>
                <a:ea typeface="黑体" pitchFamily="49" charset="-122"/>
              </a:rPr>
              <a:t>云计算能够给</a:t>
            </a:r>
            <a:r>
              <a:rPr lang="en-US" altLang="zh-CN" smtClean="0">
                <a:solidFill>
                  <a:schemeClr val="bg1"/>
                </a:solidFill>
                <a:latin typeface="黑体" pitchFamily="49" charset="-122"/>
                <a:ea typeface="黑体" pitchFamily="49" charset="-122"/>
              </a:rPr>
              <a:t>3G</a:t>
            </a:r>
            <a:r>
              <a:rPr lang="zh-CN" altLang="en-US" smtClean="0">
                <a:solidFill>
                  <a:schemeClr val="bg1"/>
                </a:solidFill>
                <a:latin typeface="黑体" pitchFamily="49" charset="-122"/>
                <a:ea typeface="黑体" pitchFamily="49" charset="-122"/>
              </a:rPr>
              <a:t>用户提供更好的用户体验。云计算有强大的计算能力、接近无限的存储空间，并支撑各种各样的软件和信息服务，能够为</a:t>
            </a:r>
            <a:r>
              <a:rPr lang="en-US" altLang="zh-CN" smtClean="0">
                <a:solidFill>
                  <a:schemeClr val="bg1"/>
                </a:solidFill>
                <a:latin typeface="黑体" pitchFamily="49" charset="-122"/>
                <a:ea typeface="黑体" pitchFamily="49" charset="-122"/>
              </a:rPr>
              <a:t>3G</a:t>
            </a:r>
            <a:r>
              <a:rPr lang="zh-CN" altLang="en-US" smtClean="0">
                <a:solidFill>
                  <a:schemeClr val="bg1"/>
                </a:solidFill>
                <a:latin typeface="黑体" pitchFamily="49" charset="-122"/>
                <a:ea typeface="黑体" pitchFamily="49" charset="-122"/>
              </a:rPr>
              <a:t>用户提供前所未有的服务体验</a:t>
            </a:r>
            <a:endParaRPr lang="en-US" altLang="zh-CN" smtClean="0">
              <a:solidFill>
                <a:schemeClr val="bg1"/>
              </a:solidFill>
              <a:latin typeface="黑体" pitchFamily="49" charset="-122"/>
              <a:ea typeface="黑体" pitchFamily="49" charset="-122"/>
            </a:endParaRPr>
          </a:p>
          <a:p>
            <a:endParaRPr lang="en-US" altLang="zh-CN" smtClean="0">
              <a:solidFill>
                <a:schemeClr val="bg1"/>
              </a:solidFill>
              <a:latin typeface="黑体" pitchFamily="49" charset="-122"/>
              <a:ea typeface="黑体" pitchFamily="49" charset="-122"/>
            </a:endParaRPr>
          </a:p>
          <a:p>
            <a:pPr algn="just" eaLnBrk="1" hangingPunct="1"/>
            <a:r>
              <a:rPr lang="zh-CN" altLang="en-US" smtClean="0">
                <a:solidFill>
                  <a:schemeClr val="bg1"/>
                </a:solidFill>
                <a:latin typeface="黑体" pitchFamily="49" charset="-122"/>
                <a:ea typeface="黑体" pitchFamily="49" charset="-122"/>
                <a:sym typeface="Wingdings" pitchFamily="2" charset="2"/>
              </a:rPr>
              <a:t> </a:t>
            </a:r>
            <a:r>
              <a:rPr lang="zh-CN" altLang="en-US" smtClean="0">
                <a:solidFill>
                  <a:schemeClr val="bg1"/>
                </a:solidFill>
                <a:latin typeface="黑体" pitchFamily="49" charset="-122"/>
                <a:ea typeface="黑体" pitchFamily="49" charset="-122"/>
              </a:rPr>
              <a:t>从量上看，物联网采集惊人的数据需要通过无线传感网、宽带互联网向某些存储和处理设施汇聚，而使用云计算来承载这些具有非常显著的性价比优势；从质上看，使用云计算设施对这些数据进行处理、分析、挖掘，可以更加迅速、准确、智能地对物理世界进行管理和控制</a:t>
            </a:r>
          </a:p>
          <a:p>
            <a:pPr algn="just" eaLnBrk="1" hangingPunct="1"/>
            <a:r>
              <a:rPr lang="zh-CN" altLang="en-US" smtClean="0">
                <a:solidFill>
                  <a:schemeClr val="bg1"/>
                </a:solidFill>
                <a:latin typeface="黑体" pitchFamily="49" charset="-122"/>
                <a:ea typeface="黑体" pitchFamily="49" charset="-122"/>
              </a:rPr>
              <a:t>物联网将成为云计算最大的用户，将为云计算取得更大商业成功奠定基石</a:t>
            </a:r>
            <a:endParaRPr lang="en-US" altLang="zh-CN" smtClean="0">
              <a:solidFill>
                <a:schemeClr val="bg1"/>
              </a:solidFill>
              <a:latin typeface="黑体" pitchFamily="49" charset="-122"/>
              <a:ea typeface="黑体" pitchFamily="49" charset="-122"/>
            </a:endParaRPr>
          </a:p>
          <a:p>
            <a:pPr algn="just" eaLnBrk="1" hangingPunct="1"/>
            <a:endParaRPr lang="en-US" altLang="zh-CN" smtClean="0">
              <a:solidFill>
                <a:schemeClr val="bg1"/>
              </a:solidFill>
              <a:latin typeface="黑体" pitchFamily="49" charset="-122"/>
              <a:ea typeface="黑体" pitchFamily="49" charset="-122"/>
            </a:endParaRPr>
          </a:p>
          <a:p>
            <a:r>
              <a:rPr lang="zh-CN" altLang="en-US" smtClean="0">
                <a:solidFill>
                  <a:schemeClr val="bg1"/>
                </a:solidFill>
                <a:latin typeface="黑体" pitchFamily="49" charset="-122"/>
                <a:ea typeface="黑体" pitchFamily="49" charset="-122"/>
                <a:sym typeface="Wingdings" pitchFamily="2" charset="2"/>
              </a:rPr>
              <a:t> </a:t>
            </a:r>
            <a:r>
              <a:rPr lang="zh-CN" altLang="en-GB" smtClean="0">
                <a:solidFill>
                  <a:schemeClr val="bg1"/>
                </a:solidFill>
                <a:latin typeface="黑体" pitchFamily="49" charset="-122"/>
                <a:ea typeface="黑体" pitchFamily="49" charset="-122"/>
              </a:rPr>
              <a:t>通过云计算技术，软硬件获得空前的集约化应用</a:t>
            </a:r>
          </a:p>
          <a:p>
            <a:r>
              <a:rPr lang="zh-CN" altLang="en-US" smtClean="0">
                <a:solidFill>
                  <a:schemeClr val="bg1"/>
                </a:solidFill>
                <a:latin typeface="黑体" pitchFamily="49" charset="-122"/>
                <a:ea typeface="黑体" pitchFamily="49" charset="-122"/>
                <a:sym typeface="Wingdings" pitchFamily="2" charset="2"/>
              </a:rPr>
              <a:t>  </a:t>
            </a:r>
            <a:r>
              <a:rPr lang="zh-CN" altLang="en-GB" smtClean="0">
                <a:solidFill>
                  <a:schemeClr val="bg1"/>
                </a:solidFill>
                <a:latin typeface="黑体" pitchFamily="49" charset="-122"/>
                <a:ea typeface="黑体" pitchFamily="49" charset="-122"/>
              </a:rPr>
              <a:t>移动互联网时代来临，对用户来讲，最好的体验是淡化有线和无线的概念。云计算有望突破各种终端，显示的内容、应用都能保持一致性和同步性</a:t>
            </a:r>
          </a:p>
          <a:p>
            <a:r>
              <a:rPr lang="zh-CN" altLang="en-GB" smtClean="0">
                <a:solidFill>
                  <a:schemeClr val="bg1"/>
                </a:solidFill>
                <a:latin typeface="黑体" pitchFamily="49" charset="-122"/>
                <a:ea typeface="黑体" pitchFamily="49" charset="-122"/>
                <a:sym typeface="Wingdings" pitchFamily="2" charset="2"/>
              </a:rPr>
              <a:t>  云计算对于云和端两侧都具有传统模式不可比拟的优势</a:t>
            </a:r>
            <a:r>
              <a:rPr lang="zh-CN" altLang="en-GB" smtClean="0">
                <a:latin typeface="Arial" pitchFamily="34" charset="0"/>
                <a:sym typeface="Wingdings" pitchFamily="2" charset="2"/>
              </a:rPr>
              <a:t> </a:t>
            </a:r>
            <a:r>
              <a:rPr lang="zh-CN" altLang="en-GB" smtClean="0">
                <a:latin typeface="黑体" pitchFamily="49" charset="-122"/>
                <a:ea typeface="黑体" pitchFamily="49" charset="-122"/>
              </a:rPr>
              <a:t> </a:t>
            </a:r>
            <a:endParaRPr lang="en-US" altLang="zh-CN" smtClean="0">
              <a:latin typeface="黑体" pitchFamily="49" charset="-122"/>
              <a:ea typeface="黑体" pitchFamily="49" charset="-122"/>
            </a:endParaRPr>
          </a:p>
          <a:p>
            <a:endParaRPr lang="en-US" altLang="zh-CN" smtClean="0">
              <a:solidFill>
                <a:schemeClr val="bg1"/>
              </a:solidFill>
              <a:latin typeface="黑体" pitchFamily="49" charset="-122"/>
              <a:ea typeface="黑体" pitchFamily="49" charset="-122"/>
            </a:endParaRPr>
          </a:p>
          <a:p>
            <a:r>
              <a:rPr lang="zh-CN" altLang="en-US" smtClean="0">
                <a:solidFill>
                  <a:schemeClr val="bg1"/>
                </a:solidFill>
                <a:latin typeface="黑体" pitchFamily="49" charset="-122"/>
                <a:ea typeface="黑体" pitchFamily="49" charset="-122"/>
                <a:sym typeface="Wingdings" pitchFamily="2" charset="2"/>
              </a:rPr>
              <a:t> </a:t>
            </a:r>
            <a:r>
              <a:rPr lang="zh-CN" altLang="en-US" smtClean="0">
                <a:solidFill>
                  <a:schemeClr val="bg1"/>
                </a:solidFill>
                <a:latin typeface="黑体" pitchFamily="49" charset="-122"/>
                <a:ea typeface="黑体" pitchFamily="49" charset="-122"/>
                <a:sym typeface="Wingdings 3" pitchFamily="18" charset="2"/>
              </a:rPr>
              <a:t></a:t>
            </a:r>
            <a:r>
              <a:rPr lang="zh-CN" altLang="en-US" smtClean="0">
                <a:solidFill>
                  <a:schemeClr val="bg1"/>
                </a:solidFill>
                <a:latin typeface="黑体" pitchFamily="49" charset="-122"/>
                <a:ea typeface="黑体" pitchFamily="49" charset="-122"/>
              </a:rPr>
              <a:t>云计算技术使得一些从事传统行业的企业也能搭上三网融合和下一代广电网的快车 </a:t>
            </a:r>
          </a:p>
          <a:p>
            <a:r>
              <a:rPr lang="zh-CN" altLang="en-US" smtClean="0">
                <a:solidFill>
                  <a:schemeClr val="bg1"/>
                </a:solidFill>
                <a:latin typeface="黑体" pitchFamily="49" charset="-122"/>
                <a:ea typeface="黑体" pitchFamily="49" charset="-122"/>
                <a:sym typeface="Wingdings" pitchFamily="2" charset="2"/>
              </a:rPr>
              <a:t>  </a:t>
            </a:r>
            <a:r>
              <a:rPr lang="zh-CN" altLang="en-US" smtClean="0">
                <a:solidFill>
                  <a:schemeClr val="bg1"/>
                </a:solidFill>
                <a:latin typeface="黑体" pitchFamily="49" charset="-122"/>
                <a:ea typeface="黑体" pitchFamily="49" charset="-122"/>
                <a:sym typeface="Wingdings 3" pitchFamily="18" charset="2"/>
              </a:rPr>
              <a:t></a:t>
            </a:r>
            <a:r>
              <a:rPr lang="zh-CN" altLang="en-US" smtClean="0">
                <a:solidFill>
                  <a:schemeClr val="bg1"/>
                </a:solidFill>
                <a:latin typeface="黑体" pitchFamily="49" charset="-122"/>
                <a:ea typeface="黑体" pitchFamily="49" charset="-122"/>
              </a:rPr>
              <a:t>云计算在三网融合及下一代广电网中的应用，涉及数据存储、数据计算、数据再处理、软件开发、数据传输、网络协同等多个方面 </a:t>
            </a:r>
          </a:p>
        </p:txBody>
      </p:sp>
      <p:sp>
        <p:nvSpPr>
          <p:cNvPr id="48132"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26FAB986-87D6-424D-BB54-778F4B60BBF9}" type="slidenum">
              <a:rPr lang="en-US" altLang="zh-CN" b="0" smtClean="0">
                <a:latin typeface="Arial" pitchFamily="34" charset="0"/>
                <a:ea typeface="宋体" pitchFamily="2" charset="-122"/>
              </a:rPr>
              <a:pPr eaLnBrk="1" hangingPunct="1"/>
              <a:t>10</a:t>
            </a:fld>
            <a:endParaRPr lang="en-US" altLang="zh-CN" b="0" smtClean="0">
              <a:latin typeface="Arial" pitchFamily="34" charset="0"/>
              <a:ea typeface="宋体" pitchFamily="2" charset="-122"/>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ln/>
        </p:spPr>
      </p:sp>
      <p:sp>
        <p:nvSpPr>
          <p:cNvPr id="49155"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 typeface="Wingdings" pitchFamily="2" charset="2"/>
              <a:buNone/>
            </a:pPr>
            <a:r>
              <a:rPr lang="zh-CN" altLang="en-US" smtClean="0">
                <a:latin typeface="Arial" pitchFamily="34" charset="0"/>
              </a:rPr>
              <a:t>在云计算技术架构中，由数据中心基础设施层与</a:t>
            </a:r>
            <a:r>
              <a:rPr lang="en-US" altLang="zh-CN" smtClean="0">
                <a:latin typeface="Arial" pitchFamily="34" charset="0"/>
              </a:rPr>
              <a:t>ICT </a:t>
            </a:r>
            <a:r>
              <a:rPr lang="zh-CN" altLang="en-US" smtClean="0">
                <a:latin typeface="Arial" pitchFamily="34" charset="0"/>
              </a:rPr>
              <a:t>资源层组成的云计算“基础设施”和由资源控制层功能构成的云计算“操作系统”，是目前云计算相关技术的核心和发展重点。</a:t>
            </a:r>
            <a:endParaRPr lang="en-US" altLang="zh-CN" smtClean="0">
              <a:latin typeface="Arial" pitchFamily="34" charset="0"/>
            </a:endParaRPr>
          </a:p>
          <a:p>
            <a:pPr>
              <a:buFont typeface="Wingdings" pitchFamily="2" charset="2"/>
              <a:buNone/>
            </a:pPr>
            <a:r>
              <a:rPr lang="zh-CN" altLang="en-US" smtClean="0">
                <a:latin typeface="Arial" pitchFamily="34" charset="0"/>
              </a:rPr>
              <a:t>云计算“基础设施”是承载在数据中心之上的，以高速网络（目前主要是以太网）连接各种物理资源（服务器、存储设备、网络设备等）和虚拟资源（虚拟机、虚拟存储空间等）。云计算基础设施的主要构成元素基本上都不是云计算所特有的，但云计算的特殊需求为这些传统的</a:t>
            </a:r>
            <a:r>
              <a:rPr lang="en-US" altLang="zh-CN" smtClean="0">
                <a:latin typeface="Arial" pitchFamily="34" charset="0"/>
              </a:rPr>
              <a:t>ICT </a:t>
            </a:r>
            <a:r>
              <a:rPr lang="zh-CN" altLang="en-US" smtClean="0">
                <a:latin typeface="Arial" pitchFamily="34" charset="0"/>
              </a:rPr>
              <a:t>设施、产品和技术带来了新的发展机遇。如数据中心的高密度、绿色化和模块化，服务器的定制化、节能化和虚拟化等；而且一些新的</a:t>
            </a:r>
            <a:r>
              <a:rPr lang="en-US" altLang="zh-CN" smtClean="0">
                <a:latin typeface="Arial" pitchFamily="34" charset="0"/>
              </a:rPr>
              <a:t>ICT </a:t>
            </a:r>
            <a:r>
              <a:rPr lang="zh-CN" altLang="en-US" smtClean="0">
                <a:latin typeface="Arial" pitchFamily="34" charset="0"/>
              </a:rPr>
              <a:t>产品形式将得到长足的发展，并可能形成新的技术创新点和产业增长点，如定制服务器、模块化数据中心等。</a:t>
            </a:r>
          </a:p>
          <a:p>
            <a:pPr>
              <a:buFont typeface="Wingdings" pitchFamily="2" charset="2"/>
              <a:buNone/>
            </a:pPr>
            <a:r>
              <a:rPr lang="zh-CN" altLang="en-US" smtClean="0">
                <a:latin typeface="Arial" pitchFamily="34" charset="0"/>
              </a:rPr>
              <a:t>云计算“操作系统”是对</a:t>
            </a:r>
            <a:r>
              <a:rPr lang="en-US" altLang="zh-CN" smtClean="0">
                <a:latin typeface="Arial" pitchFamily="34" charset="0"/>
              </a:rPr>
              <a:t>ICT </a:t>
            </a:r>
            <a:r>
              <a:rPr lang="zh-CN" altLang="en-US" smtClean="0">
                <a:latin typeface="Arial" pitchFamily="34" charset="0"/>
              </a:rPr>
              <a:t>资源池中的资源进行调度和分配的软件系统。云计算“操作系统”的主要目标是对云计算“基础设施”中的资源（计算、存储和网络等）进行统一管理，构建具备高度可扩展性，并能够自由分割的</a:t>
            </a:r>
            <a:r>
              <a:rPr lang="en-US" altLang="zh-CN" smtClean="0">
                <a:latin typeface="Arial" pitchFamily="34" charset="0"/>
              </a:rPr>
              <a:t>ICT </a:t>
            </a:r>
            <a:r>
              <a:rPr lang="zh-CN" altLang="en-US" smtClean="0">
                <a:latin typeface="Arial" pitchFamily="34" charset="0"/>
              </a:rPr>
              <a:t>资源池；同时向云计算服务层提供各种粒度的计算、存储等能力。</a:t>
            </a:r>
          </a:p>
          <a:p>
            <a:endParaRPr lang="zh-CN" altLang="en-US" smtClean="0">
              <a:latin typeface="Arial" pitchFamily="34" charset="0"/>
            </a:endParaRPr>
          </a:p>
        </p:txBody>
      </p:sp>
      <p:sp>
        <p:nvSpPr>
          <p:cNvPr id="49156"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CEFCD816-3EA1-45F0-8FE1-3C29133B41C7}" type="slidenum">
              <a:rPr lang="en-US" altLang="zh-CN" b="0" smtClean="0">
                <a:latin typeface="Arial" pitchFamily="34" charset="0"/>
                <a:ea typeface="宋体" pitchFamily="2" charset="-122"/>
              </a:rPr>
              <a:pPr eaLnBrk="1" hangingPunct="1"/>
              <a:t>15</a:t>
            </a:fld>
            <a:endParaRPr lang="en-US" altLang="zh-CN" b="0" smtClean="0">
              <a:latin typeface="Arial" pitchFamily="34" charset="0"/>
              <a:ea typeface="宋体" pitchFamily="2" charset="-122"/>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幻灯片图像占位符 1"/>
          <p:cNvSpPr>
            <a:spLocks noGrp="1" noRot="1" noChangeAspect="1" noTextEdit="1"/>
          </p:cNvSpPr>
          <p:nvPr>
            <p:ph type="sldImg"/>
          </p:nvPr>
        </p:nvSpPr>
        <p:spPr>
          <a:ln/>
        </p:spPr>
      </p:sp>
      <p:sp>
        <p:nvSpPr>
          <p:cNvPr id="50179" name="备注占位符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 typeface="Wingdings" pitchFamily="2" charset="2"/>
              <a:buNone/>
            </a:pPr>
            <a:r>
              <a:rPr lang="zh-CN" altLang="en-US" smtClean="0">
                <a:latin typeface="Arial" pitchFamily="34" charset="0"/>
              </a:rPr>
              <a:t>服务器是云计算系统中的基础节点。为了实现云计算的低成本目标，云计算系统中多采用</a:t>
            </a:r>
            <a:r>
              <a:rPr lang="en-US" altLang="zh-CN" smtClean="0">
                <a:latin typeface="Arial" pitchFamily="34" charset="0"/>
              </a:rPr>
              <a:t>X86 </a:t>
            </a:r>
            <a:r>
              <a:rPr lang="zh-CN" altLang="en-US" smtClean="0">
                <a:latin typeface="Arial" pitchFamily="34" charset="0"/>
              </a:rPr>
              <a:t>服务器，并通过虚拟化提高对服务器资源的利用率。</a:t>
            </a:r>
            <a:endParaRPr lang="en-US" altLang="zh-CN" smtClean="0">
              <a:latin typeface="Arial" pitchFamily="34" charset="0"/>
            </a:endParaRPr>
          </a:p>
          <a:p>
            <a:pPr>
              <a:buFont typeface="Wingdings" pitchFamily="2" charset="2"/>
              <a:buNone/>
            </a:pPr>
            <a:r>
              <a:rPr lang="zh-CN" altLang="en-US" smtClean="0">
                <a:latin typeface="Arial" pitchFamily="34" charset="0"/>
              </a:rPr>
              <a:t>目前 </a:t>
            </a:r>
            <a:r>
              <a:rPr lang="en-US" altLang="zh-CN" smtClean="0">
                <a:latin typeface="Arial" pitchFamily="34" charset="0"/>
              </a:rPr>
              <a:t>X86 </a:t>
            </a:r>
            <a:r>
              <a:rPr lang="zh-CN" altLang="en-US" smtClean="0">
                <a:latin typeface="Arial" pitchFamily="34" charset="0"/>
              </a:rPr>
              <a:t>服务器的虚拟化技术比较成熟。虚拟化主要有裸金属虚拟化和寄居虚拟化两种方式，其中裸金属虚拟化在性能、资源占用等方面具有综合优势，是目前应用最为广泛的一种虚拟化方式。威睿的</a:t>
            </a:r>
            <a:r>
              <a:rPr lang="en-US" altLang="zh-CN" smtClean="0">
                <a:latin typeface="Arial" pitchFamily="34" charset="0"/>
              </a:rPr>
              <a:t>ESX</a:t>
            </a:r>
            <a:r>
              <a:rPr lang="zh-CN" altLang="en-US" smtClean="0">
                <a:latin typeface="Arial" pitchFamily="34" charset="0"/>
              </a:rPr>
              <a:t>，微软的</a:t>
            </a:r>
            <a:r>
              <a:rPr lang="en-US" altLang="zh-CN" smtClean="0">
                <a:latin typeface="Arial" pitchFamily="34" charset="0"/>
              </a:rPr>
              <a:t>Hyper-V </a:t>
            </a:r>
            <a:r>
              <a:rPr lang="zh-CN" altLang="en-US" smtClean="0">
                <a:latin typeface="Arial" pitchFamily="34" charset="0"/>
              </a:rPr>
              <a:t>和思杰的</a:t>
            </a:r>
            <a:r>
              <a:rPr lang="en-US" altLang="zh-CN" smtClean="0">
                <a:latin typeface="Arial" pitchFamily="34" charset="0"/>
              </a:rPr>
              <a:t>XenServer </a:t>
            </a:r>
            <a:r>
              <a:rPr lang="zh-CN" altLang="en-US" smtClean="0">
                <a:latin typeface="Arial" pitchFamily="34" charset="0"/>
              </a:rPr>
              <a:t>是目前比较主流的虚拟化软件，其中威睿的市场份额最大。虚拟化逐步成为服务器操作系统的一项“标准配置”，</a:t>
            </a:r>
            <a:r>
              <a:rPr lang="en-US" altLang="zh-CN" smtClean="0">
                <a:latin typeface="Arial" pitchFamily="34" charset="0"/>
              </a:rPr>
              <a:t>Linux </a:t>
            </a:r>
            <a:r>
              <a:rPr lang="zh-CN" altLang="en-US" smtClean="0">
                <a:latin typeface="Arial" pitchFamily="34" charset="0"/>
              </a:rPr>
              <a:t>标准内核包含</a:t>
            </a:r>
            <a:r>
              <a:rPr lang="en-US" altLang="zh-CN" smtClean="0">
                <a:latin typeface="Arial" pitchFamily="34" charset="0"/>
              </a:rPr>
              <a:t>KVM </a:t>
            </a:r>
            <a:r>
              <a:rPr lang="zh-CN" altLang="en-US" smtClean="0">
                <a:latin typeface="Arial" pitchFamily="34" charset="0"/>
              </a:rPr>
              <a:t>虚拟化模块，微软</a:t>
            </a:r>
            <a:r>
              <a:rPr lang="en-US" altLang="zh-CN" smtClean="0">
                <a:latin typeface="Arial" pitchFamily="34" charset="0"/>
              </a:rPr>
              <a:t>Windows2008 </a:t>
            </a:r>
            <a:r>
              <a:rPr lang="zh-CN" altLang="en-US" smtClean="0">
                <a:latin typeface="Arial" pitchFamily="34" charset="0"/>
              </a:rPr>
              <a:t>也自带</a:t>
            </a:r>
            <a:r>
              <a:rPr lang="en-US" altLang="zh-CN" smtClean="0">
                <a:latin typeface="Arial" pitchFamily="34" charset="0"/>
              </a:rPr>
              <a:t>Hyper-V</a:t>
            </a:r>
            <a:r>
              <a:rPr lang="zh-CN" altLang="en-US" smtClean="0">
                <a:latin typeface="Arial" pitchFamily="34" charset="0"/>
              </a:rPr>
              <a:t>。同时，</a:t>
            </a:r>
            <a:r>
              <a:rPr lang="en-US" altLang="zh-CN" smtClean="0">
                <a:latin typeface="Arial" pitchFamily="34" charset="0"/>
              </a:rPr>
              <a:t>X86 </a:t>
            </a:r>
            <a:r>
              <a:rPr lang="zh-CN" altLang="en-US" smtClean="0">
                <a:latin typeface="Arial" pitchFamily="34" charset="0"/>
              </a:rPr>
              <a:t>虚拟化技术的开源趋势越来越明显，开源</a:t>
            </a:r>
            <a:r>
              <a:rPr lang="en-US" altLang="zh-CN" smtClean="0">
                <a:latin typeface="Arial" pitchFamily="34" charset="0"/>
              </a:rPr>
              <a:t>Xen </a:t>
            </a:r>
            <a:r>
              <a:rPr lang="zh-CN" altLang="en-US" smtClean="0">
                <a:latin typeface="Arial" pitchFamily="34" charset="0"/>
              </a:rPr>
              <a:t>以及</a:t>
            </a:r>
            <a:r>
              <a:rPr lang="en-US" altLang="zh-CN" smtClean="0">
                <a:latin typeface="Arial" pitchFamily="34" charset="0"/>
              </a:rPr>
              <a:t>KVM </a:t>
            </a:r>
            <a:r>
              <a:rPr lang="zh-CN" altLang="en-US" smtClean="0">
                <a:latin typeface="Arial" pitchFamily="34" charset="0"/>
              </a:rPr>
              <a:t>等开源虚拟化技术得到了</a:t>
            </a:r>
            <a:r>
              <a:rPr lang="en-US" altLang="zh-CN" smtClean="0">
                <a:latin typeface="Arial" pitchFamily="34" charset="0"/>
              </a:rPr>
              <a:t>IBM </a:t>
            </a:r>
            <a:r>
              <a:rPr lang="zh-CN" altLang="en-US" smtClean="0">
                <a:latin typeface="Arial" pitchFamily="34" charset="0"/>
              </a:rPr>
              <a:t>等服务器厂商的支持，应用得越来越广。</a:t>
            </a:r>
          </a:p>
          <a:p>
            <a:endParaRPr lang="zh-CN" altLang="en-US" smtClean="0">
              <a:latin typeface="Arial" pitchFamily="34" charset="0"/>
            </a:endParaRPr>
          </a:p>
        </p:txBody>
      </p:sp>
      <p:sp>
        <p:nvSpPr>
          <p:cNvPr id="50180" name="灯片编号占位符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sz="1200" b="1">
                <a:solidFill>
                  <a:schemeClr val="tx1"/>
                </a:solidFill>
                <a:latin typeface="微软雅黑" pitchFamily="34" charset="-122"/>
                <a:ea typeface="微软雅黑" pitchFamily="34" charset="-122"/>
              </a:defRPr>
            </a:lvl1pPr>
            <a:lvl2pPr marL="742950" indent="-285750" defTabSz="920750" eaLnBrk="0" hangingPunct="0">
              <a:defRPr sz="1200" b="1">
                <a:solidFill>
                  <a:schemeClr val="tx1"/>
                </a:solidFill>
                <a:latin typeface="微软雅黑" pitchFamily="34" charset="-122"/>
                <a:ea typeface="微软雅黑" pitchFamily="34" charset="-122"/>
              </a:defRPr>
            </a:lvl2pPr>
            <a:lvl3pPr marL="1143000" indent="-228600" defTabSz="920750" eaLnBrk="0" hangingPunct="0">
              <a:defRPr sz="1200" b="1">
                <a:solidFill>
                  <a:schemeClr val="tx1"/>
                </a:solidFill>
                <a:latin typeface="微软雅黑" pitchFamily="34" charset="-122"/>
                <a:ea typeface="微软雅黑" pitchFamily="34" charset="-122"/>
              </a:defRPr>
            </a:lvl3pPr>
            <a:lvl4pPr marL="1600200" indent="-228600" defTabSz="920750" eaLnBrk="0" hangingPunct="0">
              <a:defRPr sz="1200" b="1">
                <a:solidFill>
                  <a:schemeClr val="tx1"/>
                </a:solidFill>
                <a:latin typeface="微软雅黑" pitchFamily="34" charset="-122"/>
                <a:ea typeface="微软雅黑" pitchFamily="34" charset="-122"/>
              </a:defRPr>
            </a:lvl4pPr>
            <a:lvl5pPr marL="2057400" indent="-228600" defTabSz="920750" eaLnBrk="0" hangingPunct="0">
              <a:defRPr sz="1200" b="1">
                <a:solidFill>
                  <a:schemeClr val="tx1"/>
                </a:solidFill>
                <a:latin typeface="微软雅黑" pitchFamily="34" charset="-122"/>
                <a:ea typeface="微软雅黑" pitchFamily="34" charset="-122"/>
              </a:defRPr>
            </a:lvl5pPr>
            <a:lvl6pPr marL="25146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92075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fld id="{860D47D3-3C2E-44BE-9174-BBE795D6E5E5}" type="slidenum">
              <a:rPr lang="en-US" altLang="zh-CN" b="0" smtClean="0">
                <a:latin typeface="Arial" pitchFamily="34" charset="0"/>
                <a:ea typeface="宋体" pitchFamily="2" charset="-122"/>
              </a:rPr>
              <a:pPr eaLnBrk="1" hangingPunct="1"/>
              <a:t>17</a:t>
            </a:fld>
            <a:endParaRPr lang="en-US" altLang="zh-CN" b="0" smtClean="0">
              <a:latin typeface="Arial" pitchFamily="34" charset="0"/>
              <a:ea typeface="宋体" pitchFamily="2"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0B33CD07-B8E3-43EA-B50C-8340A8DF5592}" type="slidenum">
              <a:rPr lang="en-US" altLang="zh-CN"/>
              <a:pPr>
                <a:defRPr/>
              </a:pPr>
              <a:t>‹#›</a:t>
            </a:fld>
            <a:endParaRPr lang="en-US" altLang="zh-CN"/>
          </a:p>
        </p:txBody>
      </p:sp>
    </p:spTree>
    <p:extLst>
      <p:ext uri="{BB962C8B-B14F-4D97-AF65-F5344CB8AC3E}">
        <p14:creationId xmlns:p14="http://schemas.microsoft.com/office/powerpoint/2010/main" val="26619340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5BB01B2A-C316-4DE4-A2A1-F630E2122FA1}" type="slidenum">
              <a:rPr lang="en-US" altLang="zh-CN"/>
              <a:pPr>
                <a:defRPr/>
              </a:pPr>
              <a:t>‹#›</a:t>
            </a:fld>
            <a:endParaRPr lang="en-US" altLang="zh-CN"/>
          </a:p>
        </p:txBody>
      </p:sp>
    </p:spTree>
    <p:extLst>
      <p:ext uri="{BB962C8B-B14F-4D97-AF65-F5344CB8AC3E}">
        <p14:creationId xmlns:p14="http://schemas.microsoft.com/office/powerpoint/2010/main" val="24527692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15100" y="0"/>
            <a:ext cx="2171700" cy="61547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0" y="0"/>
            <a:ext cx="6362700" cy="61547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33B3BA25-994F-4D38-8413-341279F20BF5}" type="slidenum">
              <a:rPr lang="en-US" altLang="zh-CN"/>
              <a:pPr>
                <a:defRPr/>
              </a:pPr>
              <a:t>‹#›</a:t>
            </a:fld>
            <a:endParaRPr lang="en-US" altLang="zh-CN"/>
          </a:p>
        </p:txBody>
      </p:sp>
    </p:spTree>
    <p:extLst>
      <p:ext uri="{BB962C8B-B14F-4D97-AF65-F5344CB8AC3E}">
        <p14:creationId xmlns:p14="http://schemas.microsoft.com/office/powerpoint/2010/main" val="31243881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8201025" cy="835025"/>
          </a:xfr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457200" y="1571625"/>
            <a:ext cx="8229600" cy="4583113"/>
          </a:xfrm>
        </p:spPr>
        <p:txBody>
          <a:bodyPr/>
          <a:lstStyle/>
          <a:p>
            <a:pPr lvl="0"/>
            <a:endParaRPr lang="zh-CN" alt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D1BF0270-87D3-413F-B778-29301561F8FE}" type="slidenum">
              <a:rPr lang="en-US" altLang="zh-CN"/>
              <a:pPr>
                <a:defRPr/>
              </a:pPr>
              <a:t>‹#›</a:t>
            </a:fld>
            <a:endParaRPr lang="en-US" altLang="zh-CN"/>
          </a:p>
        </p:txBody>
      </p:sp>
    </p:spTree>
    <p:extLst>
      <p:ext uri="{BB962C8B-B14F-4D97-AF65-F5344CB8AC3E}">
        <p14:creationId xmlns:p14="http://schemas.microsoft.com/office/powerpoint/2010/main" val="17562482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0" y="0"/>
            <a:ext cx="8201025" cy="835025"/>
          </a:xfrm>
        </p:spPr>
        <p:txBody>
          <a:bodyPr/>
          <a:lstStyle/>
          <a:p>
            <a:r>
              <a:rPr lang="zh-CN" altLang="en-US" smtClean="0"/>
              <a:t>单击此处编辑母版标题样式</a:t>
            </a:r>
            <a:endParaRPr lang="en-US"/>
          </a:p>
        </p:txBody>
      </p:sp>
      <p:sp>
        <p:nvSpPr>
          <p:cNvPr id="3" name="文本占位符 2"/>
          <p:cNvSpPr>
            <a:spLocks noGrp="1"/>
          </p:cNvSpPr>
          <p:nvPr>
            <p:ph type="body" sz="half" idx="1"/>
          </p:nvPr>
        </p:nvSpPr>
        <p:spPr>
          <a:xfrm>
            <a:off x="457200" y="1571625"/>
            <a:ext cx="4038600" cy="458311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内容占位符 3"/>
          <p:cNvSpPr>
            <a:spLocks noGrp="1"/>
          </p:cNvSpPr>
          <p:nvPr>
            <p:ph sz="half" idx="2"/>
          </p:nvPr>
        </p:nvSpPr>
        <p:spPr>
          <a:xfrm>
            <a:off x="4648200" y="1571625"/>
            <a:ext cx="4038600" cy="4583113"/>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506996DC-A1BE-44B7-ADAF-5438F3398374}" type="slidenum">
              <a:rPr lang="en-US" altLang="zh-CN"/>
              <a:pPr>
                <a:defRPr/>
              </a:pPr>
              <a:t>‹#›</a:t>
            </a:fld>
            <a:endParaRPr lang="en-US" altLang="zh-CN"/>
          </a:p>
        </p:txBody>
      </p:sp>
    </p:spTree>
    <p:extLst>
      <p:ext uri="{BB962C8B-B14F-4D97-AF65-F5344CB8AC3E}">
        <p14:creationId xmlns:p14="http://schemas.microsoft.com/office/powerpoint/2010/main" val="193097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Only">
  <p:cSld name="内容">
    <p:spTree>
      <p:nvGrpSpPr>
        <p:cNvPr id="1" name=""/>
        <p:cNvGrpSpPr/>
        <p:nvPr/>
      </p:nvGrpSpPr>
      <p:grpSpPr>
        <a:xfrm>
          <a:off x="0" y="0"/>
          <a:ext cx="0" cy="0"/>
          <a:chOff x="0" y="0"/>
          <a:chExt cx="0" cy="0"/>
        </a:xfrm>
      </p:grpSpPr>
      <p:sp>
        <p:nvSpPr>
          <p:cNvPr id="2" name="内容占位符 1"/>
          <p:cNvSpPr>
            <a:spLocks noGrp="1"/>
          </p:cNvSpPr>
          <p:nvPr>
            <p:ph/>
          </p:nvPr>
        </p:nvSpPr>
        <p:spPr>
          <a:xfrm>
            <a:off x="73025" y="115888"/>
            <a:ext cx="8675688" cy="2628900"/>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3" name="Rectangle 5"/>
          <p:cNvSpPr>
            <a:spLocks noGrp="1" noChangeArrowheads="1"/>
          </p:cNvSpPr>
          <p:nvPr>
            <p:ph type="sldNum" sz="quarter" idx="10"/>
          </p:nvPr>
        </p:nvSpPr>
        <p:spPr>
          <a:xfrm>
            <a:off x="468313" y="6542088"/>
            <a:ext cx="2133600" cy="214312"/>
          </a:xfrm>
        </p:spPr>
        <p:txBody>
          <a:bodyPr/>
          <a:lstStyle>
            <a:lvl1pPr>
              <a:defRPr/>
            </a:lvl1pPr>
          </a:lstStyle>
          <a:p>
            <a:pPr>
              <a:defRPr/>
            </a:pPr>
            <a:r>
              <a:rPr lang="zh-CN" altLang="en-US"/>
              <a:t>第 </a:t>
            </a:r>
            <a:fld id="{7C3F33AC-A8AE-4AE7-827C-461885F2A023}" type="slidenum">
              <a:rPr lang="zh-CN" altLang="en-US"/>
              <a:pPr>
                <a:defRPr/>
              </a:pPr>
              <a:t>‹#›</a:t>
            </a:fld>
            <a:r>
              <a:rPr lang="zh-CN" altLang="en-US"/>
              <a:t> 页</a:t>
            </a:r>
          </a:p>
        </p:txBody>
      </p:sp>
    </p:spTree>
    <p:extLst>
      <p:ext uri="{BB962C8B-B14F-4D97-AF65-F5344CB8AC3E}">
        <p14:creationId xmlns:p14="http://schemas.microsoft.com/office/powerpoint/2010/main" val="23538158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标题和内容">
    <p:spTree>
      <p:nvGrpSpPr>
        <p:cNvPr id="1" name=""/>
        <p:cNvGrpSpPr/>
        <p:nvPr/>
      </p:nvGrpSpPr>
      <p:grpSpPr>
        <a:xfrm>
          <a:off x="0" y="0"/>
          <a:ext cx="0" cy="0"/>
          <a:chOff x="0" y="0"/>
          <a:chExt cx="0" cy="0"/>
        </a:xfrm>
      </p:grpSpPr>
      <p:grpSp>
        <p:nvGrpSpPr>
          <p:cNvPr id="2" name="组合 11"/>
          <p:cNvGrpSpPr>
            <a:grpSpLocks/>
          </p:cNvGrpSpPr>
          <p:nvPr userDrawn="1"/>
        </p:nvGrpSpPr>
        <p:grpSpPr bwMode="auto">
          <a:xfrm>
            <a:off x="0" y="0"/>
            <a:ext cx="9144000" cy="6858000"/>
            <a:chOff x="0" y="0"/>
            <a:chExt cx="9144000" cy="6858000"/>
          </a:xfrm>
        </p:grpSpPr>
        <p:sp>
          <p:nvSpPr>
            <p:cNvPr id="3" name="副标题 2"/>
            <p:cNvSpPr txBox="1">
              <a:spLocks/>
            </p:cNvSpPr>
            <p:nvPr userDrawn="1"/>
          </p:nvSpPr>
          <p:spPr>
            <a:xfrm>
              <a:off x="3803650" y="2924175"/>
              <a:ext cx="1536700" cy="684213"/>
            </a:xfrm>
            <a:prstGeom prst="rect">
              <a:avLst/>
            </a:prstGeom>
          </p:spPr>
          <p:txBody>
            <a:bodyPr/>
            <a:lstStyle>
              <a:lvl1pPr marL="0" indent="0" algn="ctr" defTabSz="914400" rtl="0" eaLnBrk="1" latinLnBrk="0" hangingPunct="1">
                <a:spcBef>
                  <a:spcPct val="20000"/>
                </a:spcBef>
                <a:buFont typeface="Arial" pitchFamily="34" charset="0"/>
                <a:buNone/>
                <a:defRPr sz="1600" kern="1200">
                  <a:solidFill>
                    <a:srgbClr val="2C5EAC"/>
                  </a:solidFill>
                  <a:latin typeface="微软雅黑" pitchFamily="34" charset="-122"/>
                  <a:ea typeface="微软雅黑" pitchFamily="34" charset="-122"/>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defRPr/>
              </a:pPr>
              <a:r>
                <a:rPr lang="zh-CN" altLang="en-US" sz="4400" dirty="0" smtClean="0">
                  <a:solidFill>
                    <a:schemeClr val="bg1"/>
                  </a:solidFill>
                </a:rPr>
                <a:t>谢 谢</a:t>
              </a:r>
              <a:endParaRPr lang="zh-CN" altLang="en-US" sz="4400" dirty="0">
                <a:solidFill>
                  <a:schemeClr val="bg1"/>
                </a:solidFill>
              </a:endParaRPr>
            </a:p>
          </p:txBody>
        </p:sp>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457400"/>
              <a:ext cx="9144000" cy="54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descr="C:\Documents and Settings\guoliang_liu\桌面\中国移动通信logo.png"/>
            <p:cNvPicPr>
              <a:picLocks noChangeAspect="1" noChangeArrowheads="1"/>
            </p:cNvPicPr>
            <p:nvPr userDrawn="1"/>
          </p:nvPicPr>
          <p:blipFill>
            <a:blip r:embed="rId3">
              <a:extLst>
                <a:ext uri="{28A0092B-C50C-407E-A947-70E740481C1C}">
                  <a14:useLocalDpi xmlns:a14="http://schemas.microsoft.com/office/drawing/2010/main" val="0"/>
                </a:ext>
              </a:extLst>
            </a:blip>
            <a:srcRect t="50000"/>
            <a:stretch>
              <a:fillRect/>
            </a:stretch>
          </p:blipFill>
          <p:spPr bwMode="auto">
            <a:xfrm>
              <a:off x="7428672" y="6243415"/>
              <a:ext cx="1422705" cy="482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C:\Documents and Settings\guoliang_liu\桌面\移动改变生活副本.png"/>
            <p:cNvPicPr>
              <a:picLocks noChangeAspect="1" noChangeArrowheads="1"/>
            </p:cNvPicPr>
            <p:nvPr userDrawn="1"/>
          </p:nvPicPr>
          <p:blipFill>
            <a:blip r:embed="rId4">
              <a:extLst>
                <a:ext uri="{28A0092B-C50C-407E-A947-70E740481C1C}">
                  <a14:useLocalDpi xmlns:a14="http://schemas.microsoft.com/office/drawing/2010/main" val="0"/>
                </a:ext>
              </a:extLst>
            </a:blip>
            <a:srcRect b="50000"/>
            <a:stretch>
              <a:fillRect/>
            </a:stretch>
          </p:blipFill>
          <p:spPr bwMode="auto">
            <a:xfrm>
              <a:off x="329416" y="6309320"/>
              <a:ext cx="1578288" cy="315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9144000" cy="1614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7"/>
            <p:cNvSpPr txBox="1">
              <a:spLocks noChangeArrowheads="1"/>
            </p:cNvSpPr>
            <p:nvPr userDrawn="1"/>
          </p:nvSpPr>
          <p:spPr bwMode="auto">
            <a:xfrm>
              <a:off x="3059113" y="2492375"/>
              <a:ext cx="295275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defRPr/>
              </a:pPr>
              <a:r>
                <a:rPr lang="zh-CN" altLang="en-US" sz="5400" smtClean="0">
                  <a:solidFill>
                    <a:schemeClr val="bg1"/>
                  </a:solidFill>
                  <a:latin typeface="华文中宋" pitchFamily="2" charset="-122"/>
                  <a:ea typeface="华文中宋" pitchFamily="2" charset="-122"/>
                </a:rPr>
                <a:t>谢 谢</a:t>
              </a:r>
            </a:p>
          </p:txBody>
        </p:sp>
      </p:grpSp>
    </p:spTree>
    <p:extLst>
      <p:ext uri="{BB962C8B-B14F-4D97-AF65-F5344CB8AC3E}">
        <p14:creationId xmlns:p14="http://schemas.microsoft.com/office/powerpoint/2010/main" val="1609022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en-US"/>
          </a:p>
        </p:txBody>
      </p:sp>
    </p:spTree>
    <p:extLst>
      <p:ext uri="{BB962C8B-B14F-4D97-AF65-F5344CB8AC3E}">
        <p14:creationId xmlns:p14="http://schemas.microsoft.com/office/powerpoint/2010/main" val="18395079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13085929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val="30937973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sz="half" idx="1"/>
          </p:nvPr>
        </p:nvSpPr>
        <p:spPr>
          <a:xfrm>
            <a:off x="396875" y="1557338"/>
            <a:ext cx="4171950" cy="4597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内容占位符 3"/>
          <p:cNvSpPr>
            <a:spLocks noGrp="1"/>
          </p:cNvSpPr>
          <p:nvPr>
            <p:ph sz="half" idx="2"/>
          </p:nvPr>
        </p:nvSpPr>
        <p:spPr>
          <a:xfrm>
            <a:off x="4721225" y="1557338"/>
            <a:ext cx="4171950" cy="4597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4831199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0" y="15949"/>
            <a:ext cx="8201025" cy="460723"/>
          </a:xfr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9C8C7EED-5456-44C8-AA30-AE28E45AFA50}" type="slidenum">
              <a:rPr lang="en-US" altLang="zh-CN"/>
              <a:pPr>
                <a:defRPr/>
              </a:pPr>
              <a:t>‹#›</a:t>
            </a:fld>
            <a:endParaRPr lang="en-US" altLang="zh-CN"/>
          </a:p>
        </p:txBody>
      </p:sp>
    </p:spTree>
    <p:extLst>
      <p:ext uri="{BB962C8B-B14F-4D97-AF65-F5344CB8AC3E}">
        <p14:creationId xmlns:p14="http://schemas.microsoft.com/office/powerpoint/2010/main" val="19722073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35340893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13760210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24490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11536841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24740460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18736519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94488" y="115888"/>
            <a:ext cx="2198687" cy="6038850"/>
          </a:xfrm>
        </p:spPr>
        <p:txBody>
          <a:bodyPr vert="eaVert"/>
          <a:lstStyle/>
          <a:p>
            <a:r>
              <a:rPr lang="zh-CN" altLang="en-US" smtClean="0"/>
              <a:t>单击此处编辑母版标题样式</a:t>
            </a:r>
            <a:endParaRPr lang="en-US"/>
          </a:p>
        </p:txBody>
      </p:sp>
      <p:sp>
        <p:nvSpPr>
          <p:cNvPr id="3" name="竖排文字占位符 2"/>
          <p:cNvSpPr>
            <a:spLocks noGrp="1"/>
          </p:cNvSpPr>
          <p:nvPr>
            <p:ph type="body" orient="vert" idx="1"/>
          </p:nvPr>
        </p:nvSpPr>
        <p:spPr>
          <a:xfrm>
            <a:off x="93663" y="115888"/>
            <a:ext cx="6448425" cy="603885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27152444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en-US"/>
          </a:p>
        </p:txBody>
      </p:sp>
    </p:spTree>
    <p:extLst>
      <p:ext uri="{BB962C8B-B14F-4D97-AF65-F5344CB8AC3E}">
        <p14:creationId xmlns:p14="http://schemas.microsoft.com/office/powerpoint/2010/main" val="41444423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28251590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val="1789551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ln/>
        </p:spPr>
        <p:txBody>
          <a:bodyPr/>
          <a:lstStyle>
            <a:lvl1pPr>
              <a:defRPr/>
            </a:lvl1pPr>
          </a:lstStyle>
          <a:p>
            <a:pPr>
              <a:defRPr/>
            </a:pPr>
            <a:fld id="{384F6C6F-FF18-45A7-84CA-FF5956D72D5E}" type="slidenum">
              <a:rPr lang="en-US" altLang="zh-CN"/>
              <a:pPr>
                <a:defRPr/>
              </a:pPr>
              <a:t>‹#›</a:t>
            </a:fld>
            <a:endParaRPr lang="en-US" altLang="zh-CN"/>
          </a:p>
        </p:txBody>
      </p:sp>
    </p:spTree>
    <p:extLst>
      <p:ext uri="{BB962C8B-B14F-4D97-AF65-F5344CB8AC3E}">
        <p14:creationId xmlns:p14="http://schemas.microsoft.com/office/powerpoint/2010/main" val="13909868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内容占位符 2"/>
          <p:cNvSpPr>
            <a:spLocks noGrp="1"/>
          </p:cNvSpPr>
          <p:nvPr>
            <p:ph sz="half" idx="1"/>
          </p:nvPr>
        </p:nvSpPr>
        <p:spPr>
          <a:xfrm>
            <a:off x="396875" y="1557338"/>
            <a:ext cx="4171950" cy="4597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内容占位符 3"/>
          <p:cNvSpPr>
            <a:spLocks noGrp="1"/>
          </p:cNvSpPr>
          <p:nvPr>
            <p:ph sz="half" idx="2"/>
          </p:nvPr>
        </p:nvSpPr>
        <p:spPr>
          <a:xfrm>
            <a:off x="4721225" y="1557338"/>
            <a:ext cx="4171950" cy="4597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33262147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40997633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Tree>
    <p:extLst>
      <p:ext uri="{BB962C8B-B14F-4D97-AF65-F5344CB8AC3E}">
        <p14:creationId xmlns:p14="http://schemas.microsoft.com/office/powerpoint/2010/main" val="17745919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05450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1881326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17042819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39338619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94488" y="115888"/>
            <a:ext cx="2198687" cy="6038850"/>
          </a:xfrm>
        </p:spPr>
        <p:txBody>
          <a:bodyPr vert="eaVert"/>
          <a:lstStyle/>
          <a:p>
            <a:r>
              <a:rPr lang="zh-CN" altLang="en-US" smtClean="0"/>
              <a:t>单击此处编辑母版标题样式</a:t>
            </a:r>
            <a:endParaRPr lang="en-US"/>
          </a:p>
        </p:txBody>
      </p:sp>
      <p:sp>
        <p:nvSpPr>
          <p:cNvPr id="3" name="竖排文字占位符 2"/>
          <p:cNvSpPr>
            <a:spLocks noGrp="1"/>
          </p:cNvSpPr>
          <p:nvPr>
            <p:ph type="body" orient="vert" idx="1"/>
          </p:nvPr>
        </p:nvSpPr>
        <p:spPr>
          <a:xfrm>
            <a:off x="93663" y="115888"/>
            <a:ext cx="6448425" cy="6038850"/>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Tree>
    <p:extLst>
      <p:ext uri="{BB962C8B-B14F-4D97-AF65-F5344CB8AC3E}">
        <p14:creationId xmlns:p14="http://schemas.microsoft.com/office/powerpoint/2010/main" val="32714594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241840656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419571216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196975"/>
            <a:ext cx="4038600" cy="4957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196975"/>
            <a:ext cx="4038600" cy="4957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899FB636-4E0E-4D1E-BC8D-24F0E244CB3B}" type="slidenum">
              <a:rPr lang="en-US" altLang="zh-CN"/>
              <a:pPr>
                <a:defRPr/>
              </a:pPr>
              <a:t>‹#›</a:t>
            </a:fld>
            <a:endParaRPr lang="en-US" altLang="zh-CN"/>
          </a:p>
        </p:txBody>
      </p:sp>
    </p:spTree>
    <p:extLst>
      <p:ext uri="{BB962C8B-B14F-4D97-AF65-F5344CB8AC3E}">
        <p14:creationId xmlns:p14="http://schemas.microsoft.com/office/powerpoint/2010/main" val="18144271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val="219287059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1773875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90228817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418636637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65178925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35286183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140199649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2573180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15100" y="0"/>
            <a:ext cx="2171700" cy="61261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0" y="0"/>
            <a:ext cx="6362700" cy="6126163"/>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29794583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9" name="Rectangle 6"/>
          <p:cNvSpPr>
            <a:spLocks noGrp="1" noChangeArrowheads="1"/>
          </p:cNvSpPr>
          <p:nvPr>
            <p:ph type="sldNum" sz="quarter" idx="12"/>
          </p:nvPr>
        </p:nvSpPr>
        <p:spPr>
          <a:ln/>
        </p:spPr>
        <p:txBody>
          <a:bodyPr/>
          <a:lstStyle>
            <a:lvl1pPr>
              <a:defRPr/>
            </a:lvl1pPr>
          </a:lstStyle>
          <a:p>
            <a:pPr>
              <a:defRPr/>
            </a:pPr>
            <a:fld id="{2E5E1480-286C-4ACF-9CFF-55C0AD8B946E}" type="slidenum">
              <a:rPr lang="en-US" altLang="zh-CN"/>
              <a:pPr>
                <a:defRPr/>
              </a:pPr>
              <a:t>‹#›</a:t>
            </a:fld>
            <a:endParaRPr lang="en-US" altLang="zh-CN"/>
          </a:p>
        </p:txBody>
      </p:sp>
    </p:spTree>
    <p:extLst>
      <p:ext uri="{BB962C8B-B14F-4D97-AF65-F5344CB8AC3E}">
        <p14:creationId xmlns:p14="http://schemas.microsoft.com/office/powerpoint/2010/main" val="1571484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a:ln/>
        </p:spPr>
        <p:txBody>
          <a:bodyPr/>
          <a:lstStyle>
            <a:lvl1pPr>
              <a:defRPr/>
            </a:lvl1pPr>
          </a:lstStyle>
          <a:p>
            <a:pPr>
              <a:defRPr/>
            </a:pPr>
            <a:fld id="{AEA56EE6-EEC1-4FAA-A965-17AF3555931D}" type="slidenum">
              <a:rPr lang="en-US" altLang="zh-CN"/>
              <a:pPr>
                <a:defRPr/>
              </a:pPr>
              <a:t>‹#›</a:t>
            </a:fld>
            <a:endParaRPr lang="en-US" altLang="zh-CN"/>
          </a:p>
        </p:txBody>
      </p:sp>
    </p:spTree>
    <p:extLst>
      <p:ext uri="{BB962C8B-B14F-4D97-AF65-F5344CB8AC3E}">
        <p14:creationId xmlns:p14="http://schemas.microsoft.com/office/powerpoint/2010/main" val="26566296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a:ln/>
        </p:spPr>
        <p:txBody>
          <a:bodyPr/>
          <a:lstStyle>
            <a:lvl1pPr>
              <a:defRPr/>
            </a:lvl1pPr>
          </a:lstStyle>
          <a:p>
            <a:pPr>
              <a:defRPr/>
            </a:pPr>
            <a:fld id="{8B4BB36C-0FF9-4DB3-AB1A-FDF159CF4160}" type="slidenum">
              <a:rPr lang="en-US" altLang="zh-CN"/>
              <a:pPr>
                <a:defRPr/>
              </a:pPr>
              <a:t>‹#›</a:t>
            </a:fld>
            <a:endParaRPr lang="en-US" altLang="zh-CN"/>
          </a:p>
        </p:txBody>
      </p:sp>
    </p:spTree>
    <p:extLst>
      <p:ext uri="{BB962C8B-B14F-4D97-AF65-F5344CB8AC3E}">
        <p14:creationId xmlns:p14="http://schemas.microsoft.com/office/powerpoint/2010/main" val="3800478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9BDFCE16-C01E-4608-9A16-A4D5F74BA9EE}" type="slidenum">
              <a:rPr lang="en-US" altLang="zh-CN"/>
              <a:pPr>
                <a:defRPr/>
              </a:pPr>
              <a:t>‹#›</a:t>
            </a:fld>
            <a:endParaRPr lang="en-US" altLang="zh-CN"/>
          </a:p>
        </p:txBody>
      </p:sp>
    </p:spTree>
    <p:extLst>
      <p:ext uri="{BB962C8B-B14F-4D97-AF65-F5344CB8AC3E}">
        <p14:creationId xmlns:p14="http://schemas.microsoft.com/office/powerpoint/2010/main" val="13688546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A1B9EBDB-EFEE-4B4A-851A-016714B52466}" type="slidenum">
              <a:rPr lang="en-US" altLang="zh-CN"/>
              <a:pPr>
                <a:defRPr/>
              </a:pPr>
              <a:t>‹#›</a:t>
            </a:fld>
            <a:endParaRPr lang="en-US" altLang="zh-CN"/>
          </a:p>
        </p:txBody>
      </p:sp>
    </p:spTree>
    <p:extLst>
      <p:ext uri="{BB962C8B-B14F-4D97-AF65-F5344CB8AC3E}">
        <p14:creationId xmlns:p14="http://schemas.microsoft.com/office/powerpoint/2010/main" val="15006174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8.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9.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10.jpe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57200" y="933450"/>
            <a:ext cx="8229600" cy="458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lnSpc>
                <a:spcPct val="100000"/>
              </a:lnSpc>
              <a:spcBef>
                <a:spcPct val="0"/>
              </a:spcBef>
              <a:buClrTx/>
              <a:buFontTx/>
              <a:buNone/>
              <a:defRPr sz="1400" b="0">
                <a:latin typeface="Arial" pitchFamily="34" charset="0"/>
                <a:ea typeface="宋体" pitchFamily="2" charset="-122"/>
                <a:cs typeface="Arial" pitchFamily="34" charset="0"/>
              </a:defRPr>
            </a:lvl1pPr>
          </a:lstStyle>
          <a:p>
            <a:pPr>
              <a:defRPr/>
            </a:pPr>
            <a:endParaRPr lang="en-US" altLang="zh-CN"/>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lnSpc>
                <a:spcPct val="100000"/>
              </a:lnSpc>
              <a:spcBef>
                <a:spcPct val="0"/>
              </a:spcBef>
              <a:buClrTx/>
              <a:buFontTx/>
              <a:buNone/>
              <a:defRPr sz="1400" b="0">
                <a:latin typeface="Arial" pitchFamily="34" charset="0"/>
                <a:ea typeface="宋体" pitchFamily="2" charset="-122"/>
                <a:cs typeface="Arial" pitchFamily="34" charset="0"/>
              </a:defRPr>
            </a:lvl1pPr>
          </a:lstStyle>
          <a:p>
            <a:pPr>
              <a:defRPr/>
            </a:pPr>
            <a:endParaRPr lang="en-US" altLang="zh-CN"/>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buClrTx/>
              <a:buFontTx/>
              <a:buNone/>
              <a:defRPr sz="1400" b="0">
                <a:latin typeface="Arial" pitchFamily="34" charset="0"/>
                <a:ea typeface="宋体" pitchFamily="2" charset="-122"/>
                <a:cs typeface="Arial" pitchFamily="34" charset="0"/>
              </a:defRPr>
            </a:lvl1pPr>
          </a:lstStyle>
          <a:p>
            <a:pPr>
              <a:defRPr/>
            </a:pPr>
            <a:fld id="{866AA553-62AE-459F-8ADE-AA0EA5A062E4}" type="slidenum">
              <a:rPr lang="en-US" altLang="zh-CN"/>
              <a:pPr>
                <a:defRPr/>
              </a:pPr>
              <a:t>‹#›</a:t>
            </a:fld>
            <a:endParaRPr lang="en-US" altLang="zh-CN"/>
          </a:p>
        </p:txBody>
      </p:sp>
      <p:sp>
        <p:nvSpPr>
          <p:cNvPr id="2" name="Rectangle 2"/>
          <p:cNvSpPr>
            <a:spLocks noGrp="1" noChangeArrowheads="1"/>
          </p:cNvSpPr>
          <p:nvPr>
            <p:ph type="title"/>
          </p:nvPr>
        </p:nvSpPr>
        <p:spPr bwMode="auto">
          <a:xfrm>
            <a:off x="0" y="15875"/>
            <a:ext cx="8201025"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1033" name="Text Box 10"/>
          <p:cNvSpPr txBox="1">
            <a:spLocks noChangeArrowheads="1"/>
          </p:cNvSpPr>
          <p:nvPr/>
        </p:nvSpPr>
        <p:spPr bwMode="auto">
          <a:xfrm>
            <a:off x="4487863" y="6554788"/>
            <a:ext cx="15557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spcBef>
                <a:spcPct val="50000"/>
              </a:spcBef>
              <a:defRPr/>
            </a:pPr>
            <a:fld id="{FF87026D-FCBC-4FE2-994D-4074083211DF}" type="slidenum">
              <a:rPr lang="zh-TW" altLang="en-US" sz="1000" smtClean="0">
                <a:latin typeface="Arial" pitchFamily="34" charset="0"/>
                <a:ea typeface="宋体" pitchFamily="2" charset="-122"/>
                <a:cs typeface="Arial" pitchFamily="34" charset="0"/>
              </a:rPr>
              <a:pPr eaLnBrk="1" hangingPunct="1">
                <a:spcBef>
                  <a:spcPct val="50000"/>
                </a:spcBef>
                <a:defRPr/>
              </a:pPr>
              <a:t>‹#›</a:t>
            </a:fld>
            <a:endParaRPr lang="en-US" altLang="zh-TW" sz="1000" smtClean="0">
              <a:latin typeface="Arial" pitchFamily="34" charset="0"/>
              <a:ea typeface="宋体" pitchFamily="2" charset="-122"/>
              <a:cs typeface="Arial" pitchFamily="34" charset="0"/>
            </a:endParaRPr>
          </a:p>
        </p:txBody>
      </p:sp>
      <p:pic>
        <p:nvPicPr>
          <p:cNvPr id="1032" name="Picture 2"/>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0" y="3175"/>
            <a:ext cx="9144000" cy="977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descr="C:\Documents and Settings\guoliang_liu\桌面\中国移动通信logo.png"/>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8007350" y="90488"/>
            <a:ext cx="1101725" cy="38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8061" r:id="rId1"/>
    <p:sldLayoutId id="2147488062" r:id="rId2"/>
    <p:sldLayoutId id="2147488063" r:id="rId3"/>
    <p:sldLayoutId id="2147488064" r:id="rId4"/>
    <p:sldLayoutId id="2147488065" r:id="rId5"/>
    <p:sldLayoutId id="2147488066" r:id="rId6"/>
    <p:sldLayoutId id="2147488067" r:id="rId7"/>
    <p:sldLayoutId id="2147488068" r:id="rId8"/>
    <p:sldLayoutId id="2147488069" r:id="rId9"/>
    <p:sldLayoutId id="2147488070" r:id="rId10"/>
    <p:sldLayoutId id="2147488071" r:id="rId11"/>
    <p:sldLayoutId id="2147488072" r:id="rId12"/>
    <p:sldLayoutId id="2147488073" r:id="rId13"/>
    <p:sldLayoutId id="2147488107" r:id="rId14"/>
    <p:sldLayoutId id="2147488109" r:id="rId15"/>
  </p:sldLayoutIdLst>
  <p:txStyles>
    <p:titleStyle>
      <a:lvl1pPr algn="l" rtl="0" eaLnBrk="0" fontAlgn="base" hangingPunct="0">
        <a:spcBef>
          <a:spcPct val="0"/>
        </a:spcBef>
        <a:spcAft>
          <a:spcPct val="0"/>
        </a:spcAft>
        <a:defRPr sz="2800" b="1">
          <a:solidFill>
            <a:schemeClr val="bg1"/>
          </a:solidFill>
          <a:latin typeface="Tahoma" pitchFamily="34" charset="0"/>
          <a:ea typeface="微软雅黑" pitchFamily="34" charset="-122"/>
          <a:cs typeface="Tahoma" pitchFamily="34" charset="0"/>
        </a:defRPr>
      </a:lvl1pPr>
      <a:lvl2pPr algn="l" rtl="0" eaLnBrk="0" fontAlgn="base" hangingPunct="0">
        <a:spcBef>
          <a:spcPct val="0"/>
        </a:spcBef>
        <a:spcAft>
          <a:spcPct val="0"/>
        </a:spcAft>
        <a:defRPr sz="2800" b="1">
          <a:solidFill>
            <a:schemeClr val="bg1"/>
          </a:solidFill>
          <a:latin typeface="Tahoma" pitchFamily="34" charset="0"/>
          <a:ea typeface="微软雅黑" pitchFamily="34" charset="-122"/>
          <a:cs typeface="Tahoma" pitchFamily="34" charset="0"/>
        </a:defRPr>
      </a:lvl2pPr>
      <a:lvl3pPr algn="l" rtl="0" eaLnBrk="0" fontAlgn="base" hangingPunct="0">
        <a:spcBef>
          <a:spcPct val="0"/>
        </a:spcBef>
        <a:spcAft>
          <a:spcPct val="0"/>
        </a:spcAft>
        <a:defRPr sz="2800" b="1">
          <a:solidFill>
            <a:schemeClr val="bg1"/>
          </a:solidFill>
          <a:latin typeface="Tahoma" pitchFamily="34" charset="0"/>
          <a:ea typeface="微软雅黑" pitchFamily="34" charset="-122"/>
          <a:cs typeface="Tahoma" pitchFamily="34" charset="0"/>
        </a:defRPr>
      </a:lvl3pPr>
      <a:lvl4pPr algn="l" rtl="0" eaLnBrk="0" fontAlgn="base" hangingPunct="0">
        <a:spcBef>
          <a:spcPct val="0"/>
        </a:spcBef>
        <a:spcAft>
          <a:spcPct val="0"/>
        </a:spcAft>
        <a:defRPr sz="2800" b="1">
          <a:solidFill>
            <a:schemeClr val="bg1"/>
          </a:solidFill>
          <a:latin typeface="Tahoma" pitchFamily="34" charset="0"/>
          <a:ea typeface="微软雅黑" pitchFamily="34" charset="-122"/>
          <a:cs typeface="Tahoma" pitchFamily="34" charset="0"/>
        </a:defRPr>
      </a:lvl4pPr>
      <a:lvl5pPr algn="l" rtl="0" eaLnBrk="0" fontAlgn="base" hangingPunct="0">
        <a:spcBef>
          <a:spcPct val="0"/>
        </a:spcBef>
        <a:spcAft>
          <a:spcPct val="0"/>
        </a:spcAft>
        <a:defRPr sz="2800" b="1">
          <a:solidFill>
            <a:schemeClr val="bg1"/>
          </a:solidFill>
          <a:latin typeface="Tahoma" pitchFamily="34" charset="0"/>
          <a:ea typeface="微软雅黑" pitchFamily="34" charset="-122"/>
          <a:cs typeface="Tahoma" pitchFamily="34" charset="0"/>
        </a:defRPr>
      </a:lvl5pPr>
      <a:lvl6pPr marL="457200" algn="ctr" rtl="0" fontAlgn="base">
        <a:spcBef>
          <a:spcPct val="0"/>
        </a:spcBef>
        <a:spcAft>
          <a:spcPct val="0"/>
        </a:spcAft>
        <a:defRPr sz="2800" b="1">
          <a:solidFill>
            <a:schemeClr val="bg1"/>
          </a:solidFill>
          <a:latin typeface="Arial" charset="0"/>
          <a:ea typeface="宋体" pitchFamily="2" charset="-122"/>
        </a:defRPr>
      </a:lvl6pPr>
      <a:lvl7pPr marL="914400" algn="ctr" rtl="0" fontAlgn="base">
        <a:spcBef>
          <a:spcPct val="0"/>
        </a:spcBef>
        <a:spcAft>
          <a:spcPct val="0"/>
        </a:spcAft>
        <a:defRPr sz="2800" b="1">
          <a:solidFill>
            <a:schemeClr val="bg1"/>
          </a:solidFill>
          <a:latin typeface="Arial" charset="0"/>
          <a:ea typeface="宋体" pitchFamily="2" charset="-122"/>
        </a:defRPr>
      </a:lvl7pPr>
      <a:lvl8pPr marL="1371600" algn="ctr" rtl="0" fontAlgn="base">
        <a:spcBef>
          <a:spcPct val="0"/>
        </a:spcBef>
        <a:spcAft>
          <a:spcPct val="0"/>
        </a:spcAft>
        <a:defRPr sz="2800" b="1">
          <a:solidFill>
            <a:schemeClr val="bg1"/>
          </a:solidFill>
          <a:latin typeface="Arial" charset="0"/>
          <a:ea typeface="宋体" pitchFamily="2" charset="-122"/>
        </a:defRPr>
      </a:lvl8pPr>
      <a:lvl9pPr marL="1828800" algn="ctr" rtl="0" fontAlgn="base">
        <a:spcBef>
          <a:spcPct val="0"/>
        </a:spcBef>
        <a:spcAft>
          <a:spcPct val="0"/>
        </a:spcAft>
        <a:defRPr sz="2800" b="1">
          <a:solidFill>
            <a:schemeClr val="bg1"/>
          </a:solidFill>
          <a:latin typeface="Arial" charset="0"/>
          <a:ea typeface="宋体" pitchFamily="2" charset="-122"/>
        </a:defRPr>
      </a:lvl9pPr>
    </p:titleStyle>
    <p:bodyStyle>
      <a:lvl1pPr marL="266700" indent="-266700" algn="l" rtl="0" eaLnBrk="0" fontAlgn="base" hangingPunct="0">
        <a:lnSpc>
          <a:spcPct val="110000"/>
        </a:lnSpc>
        <a:spcBef>
          <a:spcPct val="30000"/>
        </a:spcBef>
        <a:spcAft>
          <a:spcPct val="0"/>
        </a:spcAft>
        <a:buClr>
          <a:srgbClr val="0000CC"/>
        </a:buClr>
        <a:buFont typeface="Wingdings" pitchFamily="2" charset="2"/>
        <a:buBlip>
          <a:blip r:embed="rId19"/>
        </a:buBlip>
        <a:defRPr sz="2000" b="1">
          <a:solidFill>
            <a:srgbClr val="000000"/>
          </a:solidFill>
          <a:latin typeface="Tahoma" pitchFamily="34" charset="0"/>
          <a:ea typeface="微软雅黑" pitchFamily="34" charset="-122"/>
          <a:cs typeface="Tahoma" pitchFamily="34" charset="0"/>
        </a:defRPr>
      </a:lvl1pPr>
      <a:lvl2pPr marL="622300" indent="-176213" algn="l" rtl="0" eaLnBrk="0" fontAlgn="base" hangingPunct="0">
        <a:lnSpc>
          <a:spcPct val="110000"/>
        </a:lnSpc>
        <a:spcBef>
          <a:spcPct val="30000"/>
        </a:spcBef>
        <a:spcAft>
          <a:spcPct val="0"/>
        </a:spcAft>
        <a:buClr>
          <a:schemeClr val="tx1"/>
        </a:buClr>
        <a:buSzPct val="50000"/>
        <a:buFont typeface="Wingdings" pitchFamily="2" charset="2"/>
        <a:buChar char="n"/>
        <a:defRPr sz="2800">
          <a:solidFill>
            <a:srgbClr val="000000"/>
          </a:solidFill>
          <a:latin typeface="Tahoma" pitchFamily="34" charset="0"/>
          <a:ea typeface="微软雅黑" pitchFamily="34" charset="-122"/>
          <a:cs typeface="Tahoma" pitchFamily="34" charset="0"/>
        </a:defRPr>
      </a:lvl2pPr>
      <a:lvl3pPr marL="901700" indent="-88900" algn="l" rtl="0" eaLnBrk="0" fontAlgn="base" hangingPunct="0">
        <a:lnSpc>
          <a:spcPct val="110000"/>
        </a:lnSpc>
        <a:spcBef>
          <a:spcPct val="30000"/>
        </a:spcBef>
        <a:spcAft>
          <a:spcPct val="0"/>
        </a:spcAft>
        <a:buClr>
          <a:schemeClr val="tx1"/>
        </a:buClr>
        <a:buFont typeface="Wingdings" pitchFamily="2" charset="2"/>
        <a:buChar char="ü"/>
        <a:defRPr sz="1400">
          <a:solidFill>
            <a:srgbClr val="000000"/>
          </a:solidFill>
          <a:latin typeface="Tahoma" pitchFamily="34" charset="0"/>
          <a:ea typeface="微软雅黑" pitchFamily="34" charset="-122"/>
          <a:cs typeface="Tahoma" pitchFamily="34" charset="0"/>
        </a:defRPr>
      </a:lvl3pPr>
      <a:lvl4pPr marL="1600200" indent="-228600" algn="l" rtl="0" eaLnBrk="0" fontAlgn="base" hangingPunct="0">
        <a:spcBef>
          <a:spcPct val="20000"/>
        </a:spcBef>
        <a:spcAft>
          <a:spcPct val="0"/>
        </a:spcAft>
        <a:buChar char="–"/>
        <a:defRPr sz="2000">
          <a:solidFill>
            <a:schemeClr val="tx1"/>
          </a:solidFill>
          <a:latin typeface="+mj-lt"/>
          <a:ea typeface="宋体" pitchFamily="2" charset="-122"/>
          <a:cs typeface="微软雅黑" pitchFamily="34" charset="-122"/>
        </a:defRPr>
      </a:lvl4pPr>
      <a:lvl5pPr marL="2057400" indent="-228600" algn="l" rtl="0" eaLnBrk="0" fontAlgn="base" hangingPunct="0">
        <a:spcBef>
          <a:spcPct val="20000"/>
        </a:spcBef>
        <a:spcAft>
          <a:spcPct val="0"/>
        </a:spcAft>
        <a:buChar char="»"/>
        <a:defRPr sz="2000">
          <a:solidFill>
            <a:schemeClr val="tx1"/>
          </a:solidFill>
          <a:latin typeface="+mj-lt"/>
          <a:ea typeface="宋体" pitchFamily="2" charset="-122"/>
          <a:cs typeface="微软雅黑" pitchFamily="34" charset="-122"/>
        </a:defRPr>
      </a:lvl5pPr>
      <a:lvl6pPr marL="2514600" indent="-228600" algn="l" rtl="0" fontAlgn="base">
        <a:spcBef>
          <a:spcPct val="20000"/>
        </a:spcBef>
        <a:spcAft>
          <a:spcPct val="0"/>
        </a:spcAft>
        <a:buChar char="»"/>
        <a:defRPr sz="2000">
          <a:solidFill>
            <a:schemeClr val="tx1"/>
          </a:solidFill>
          <a:latin typeface="+mj-lt"/>
          <a:ea typeface="+mn-ea"/>
        </a:defRPr>
      </a:lvl6pPr>
      <a:lvl7pPr marL="2971800" indent="-228600" algn="l" rtl="0" fontAlgn="base">
        <a:spcBef>
          <a:spcPct val="20000"/>
        </a:spcBef>
        <a:spcAft>
          <a:spcPct val="0"/>
        </a:spcAft>
        <a:buChar char="»"/>
        <a:defRPr sz="2000">
          <a:solidFill>
            <a:schemeClr val="tx1"/>
          </a:solidFill>
          <a:latin typeface="+mj-lt"/>
          <a:ea typeface="+mn-ea"/>
        </a:defRPr>
      </a:lvl7pPr>
      <a:lvl8pPr marL="3429000" indent="-228600" algn="l" rtl="0" fontAlgn="base">
        <a:spcBef>
          <a:spcPct val="20000"/>
        </a:spcBef>
        <a:spcAft>
          <a:spcPct val="0"/>
        </a:spcAft>
        <a:buChar char="»"/>
        <a:defRPr sz="2000">
          <a:solidFill>
            <a:schemeClr val="tx1"/>
          </a:solidFill>
          <a:latin typeface="+mj-lt"/>
          <a:ea typeface="+mn-ea"/>
        </a:defRPr>
      </a:lvl8pPr>
      <a:lvl9pPr marL="3886200" indent="-228600" algn="l" rtl="0" fontAlgn="base">
        <a:spcBef>
          <a:spcPct val="20000"/>
        </a:spcBef>
        <a:spcAft>
          <a:spcPct val="0"/>
        </a:spcAft>
        <a:buChar char="»"/>
        <a:defRPr sz="2000">
          <a:solidFill>
            <a:schemeClr val="tx1"/>
          </a:solidFill>
          <a:latin typeface="+mj-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050" name="Rectangle 11"/>
          <p:cNvSpPr>
            <a:spLocks noGrp="1" noChangeArrowheads="1"/>
          </p:cNvSpPr>
          <p:nvPr>
            <p:ph type="title"/>
          </p:nvPr>
        </p:nvSpPr>
        <p:spPr bwMode="auto">
          <a:xfrm>
            <a:off x="93663" y="115888"/>
            <a:ext cx="7573962"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051" name="Rectangle 12"/>
          <p:cNvSpPr>
            <a:spLocks noGrp="1" noChangeArrowheads="1"/>
          </p:cNvSpPr>
          <p:nvPr>
            <p:ph type="body" idx="1"/>
          </p:nvPr>
        </p:nvSpPr>
        <p:spPr bwMode="auto">
          <a:xfrm>
            <a:off x="396875" y="1557338"/>
            <a:ext cx="8496300" cy="459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Tree>
  </p:cSld>
  <p:clrMap bg1="lt1" tx1="dk1" bg2="lt2" tx2="dk2" accent1="accent1" accent2="accent2" accent3="accent3" accent4="accent4" accent5="accent5" accent6="accent6" hlink="hlink" folHlink="folHlink"/>
  <p:sldLayoutIdLst>
    <p:sldLayoutId id="2147488074" r:id="rId1"/>
    <p:sldLayoutId id="2147488075" r:id="rId2"/>
    <p:sldLayoutId id="2147488076" r:id="rId3"/>
    <p:sldLayoutId id="2147488077" r:id="rId4"/>
    <p:sldLayoutId id="2147488078" r:id="rId5"/>
    <p:sldLayoutId id="2147488079" r:id="rId6"/>
    <p:sldLayoutId id="2147488080" r:id="rId7"/>
    <p:sldLayoutId id="2147488081" r:id="rId8"/>
    <p:sldLayoutId id="2147488082" r:id="rId9"/>
    <p:sldLayoutId id="2147488083" r:id="rId10"/>
    <p:sldLayoutId id="2147488084" r:id="rId11"/>
  </p:sldLayoutIdLst>
  <p:txStyles>
    <p:titleStyle>
      <a:lvl1pPr algn="l" rtl="0" eaLnBrk="0" fontAlgn="base" hangingPunct="0">
        <a:spcBef>
          <a:spcPct val="0"/>
        </a:spcBef>
        <a:spcAft>
          <a:spcPct val="0"/>
        </a:spcAft>
        <a:defRPr sz="2800" b="1">
          <a:solidFill>
            <a:schemeClr val="bg1"/>
          </a:solidFill>
          <a:latin typeface="+mj-lt"/>
          <a:ea typeface="+mj-ea"/>
          <a:cs typeface="+mj-cs"/>
        </a:defRPr>
      </a:lvl1pPr>
      <a:lvl2pPr algn="l" rtl="0" eaLnBrk="0" fontAlgn="base" hangingPunct="0">
        <a:spcBef>
          <a:spcPct val="0"/>
        </a:spcBef>
        <a:spcAft>
          <a:spcPct val="0"/>
        </a:spcAft>
        <a:defRPr sz="2800" b="1">
          <a:solidFill>
            <a:schemeClr val="bg1"/>
          </a:solidFill>
          <a:latin typeface="华文细黑" pitchFamily="2" charset="-122"/>
          <a:ea typeface="宋体" pitchFamily="2" charset="-122"/>
        </a:defRPr>
      </a:lvl2pPr>
      <a:lvl3pPr algn="l" rtl="0" eaLnBrk="0" fontAlgn="base" hangingPunct="0">
        <a:spcBef>
          <a:spcPct val="0"/>
        </a:spcBef>
        <a:spcAft>
          <a:spcPct val="0"/>
        </a:spcAft>
        <a:defRPr sz="2800" b="1">
          <a:solidFill>
            <a:schemeClr val="bg1"/>
          </a:solidFill>
          <a:latin typeface="华文细黑" pitchFamily="2" charset="-122"/>
          <a:ea typeface="宋体" pitchFamily="2" charset="-122"/>
        </a:defRPr>
      </a:lvl3pPr>
      <a:lvl4pPr algn="l" rtl="0" eaLnBrk="0" fontAlgn="base" hangingPunct="0">
        <a:spcBef>
          <a:spcPct val="0"/>
        </a:spcBef>
        <a:spcAft>
          <a:spcPct val="0"/>
        </a:spcAft>
        <a:defRPr sz="2800" b="1">
          <a:solidFill>
            <a:schemeClr val="bg1"/>
          </a:solidFill>
          <a:latin typeface="华文细黑" pitchFamily="2" charset="-122"/>
          <a:ea typeface="宋体" pitchFamily="2" charset="-122"/>
        </a:defRPr>
      </a:lvl4pPr>
      <a:lvl5pPr algn="l" rtl="0" eaLnBrk="0" fontAlgn="base" hangingPunct="0">
        <a:spcBef>
          <a:spcPct val="0"/>
        </a:spcBef>
        <a:spcAft>
          <a:spcPct val="0"/>
        </a:spcAft>
        <a:defRPr sz="2800" b="1">
          <a:solidFill>
            <a:schemeClr val="bg1"/>
          </a:solidFill>
          <a:latin typeface="华文细黑" pitchFamily="2" charset="-122"/>
          <a:ea typeface="宋体" pitchFamily="2" charset="-122"/>
        </a:defRPr>
      </a:lvl5pPr>
      <a:lvl6pPr marL="457200" algn="l" rtl="0" fontAlgn="base">
        <a:spcBef>
          <a:spcPct val="0"/>
        </a:spcBef>
        <a:spcAft>
          <a:spcPct val="0"/>
        </a:spcAft>
        <a:defRPr sz="2800" b="1">
          <a:solidFill>
            <a:schemeClr val="bg1"/>
          </a:solidFill>
          <a:latin typeface="华文细黑" pitchFamily="2" charset="-122"/>
          <a:ea typeface="宋体" pitchFamily="2" charset="-122"/>
        </a:defRPr>
      </a:lvl6pPr>
      <a:lvl7pPr marL="914400" algn="l" rtl="0" fontAlgn="base">
        <a:spcBef>
          <a:spcPct val="0"/>
        </a:spcBef>
        <a:spcAft>
          <a:spcPct val="0"/>
        </a:spcAft>
        <a:defRPr sz="2800" b="1">
          <a:solidFill>
            <a:schemeClr val="bg1"/>
          </a:solidFill>
          <a:latin typeface="华文细黑" pitchFamily="2" charset="-122"/>
          <a:ea typeface="宋体" pitchFamily="2" charset="-122"/>
        </a:defRPr>
      </a:lvl7pPr>
      <a:lvl8pPr marL="1371600" algn="l" rtl="0" fontAlgn="base">
        <a:spcBef>
          <a:spcPct val="0"/>
        </a:spcBef>
        <a:spcAft>
          <a:spcPct val="0"/>
        </a:spcAft>
        <a:defRPr sz="2800" b="1">
          <a:solidFill>
            <a:schemeClr val="bg1"/>
          </a:solidFill>
          <a:latin typeface="华文细黑" pitchFamily="2" charset="-122"/>
          <a:ea typeface="宋体" pitchFamily="2" charset="-122"/>
        </a:defRPr>
      </a:lvl8pPr>
      <a:lvl9pPr marL="1828800" algn="l" rtl="0" fontAlgn="base">
        <a:spcBef>
          <a:spcPct val="0"/>
        </a:spcBef>
        <a:spcAft>
          <a:spcPct val="0"/>
        </a:spcAft>
        <a:defRPr sz="2800" b="1">
          <a:solidFill>
            <a:schemeClr val="bg1"/>
          </a:solidFill>
          <a:latin typeface="华文细黑" pitchFamily="2" charset="-122"/>
          <a:ea typeface="宋体" pitchFamily="2" charset="-122"/>
        </a:defRPr>
      </a:lvl9pPr>
    </p:titleStyle>
    <p:bodyStyle>
      <a:lvl1pPr marL="342900" indent="-342900" algn="l" rtl="0" eaLnBrk="0" fontAlgn="base" hangingPunct="0">
        <a:lnSpc>
          <a:spcPct val="120000"/>
        </a:lnSpc>
        <a:spcBef>
          <a:spcPct val="40000"/>
        </a:spcBef>
        <a:spcAft>
          <a:spcPct val="0"/>
        </a:spcAft>
        <a:buFont typeface="Wingdings" pitchFamily="2" charset="2"/>
        <a:buChar char="²"/>
        <a:defRPr sz="2400" b="1">
          <a:solidFill>
            <a:schemeClr val="tx1"/>
          </a:solidFill>
          <a:latin typeface="+mn-lt"/>
          <a:ea typeface="+mn-ea"/>
          <a:cs typeface="+mn-cs"/>
        </a:defRPr>
      </a:lvl1pPr>
      <a:lvl2pPr marL="742950" indent="-285750" algn="l" rtl="0" eaLnBrk="0" fontAlgn="base" hangingPunct="0">
        <a:lnSpc>
          <a:spcPct val="120000"/>
        </a:lnSpc>
        <a:spcBef>
          <a:spcPct val="40000"/>
        </a:spcBef>
        <a:spcAft>
          <a:spcPct val="0"/>
        </a:spcAft>
        <a:buChar char="–"/>
        <a:defRPr sz="2000" b="1">
          <a:solidFill>
            <a:schemeClr val="tx1"/>
          </a:solidFill>
          <a:latin typeface="+mn-lt"/>
          <a:ea typeface="+mn-ea"/>
        </a:defRPr>
      </a:lvl2pPr>
      <a:lvl3pPr marL="1143000" indent="-228600" algn="l" rtl="0" eaLnBrk="0" fontAlgn="base" hangingPunct="0">
        <a:lnSpc>
          <a:spcPct val="120000"/>
        </a:lnSpc>
        <a:spcBef>
          <a:spcPct val="40000"/>
        </a:spcBef>
        <a:spcAft>
          <a:spcPct val="0"/>
        </a:spcAft>
        <a:buChar char="•"/>
        <a:defRPr sz="2400" b="1">
          <a:solidFill>
            <a:schemeClr val="tx1"/>
          </a:solidFill>
          <a:latin typeface="+mn-lt"/>
          <a:ea typeface="+mn-ea"/>
        </a:defRPr>
      </a:lvl3pPr>
      <a:lvl4pPr marL="1600200" indent="-228600" algn="l" rtl="0" eaLnBrk="0" fontAlgn="base" hangingPunct="0">
        <a:lnSpc>
          <a:spcPct val="120000"/>
        </a:lnSpc>
        <a:spcBef>
          <a:spcPct val="40000"/>
        </a:spcBef>
        <a:spcAft>
          <a:spcPct val="0"/>
        </a:spcAft>
        <a:buFont typeface="Wingdings" pitchFamily="2" charset="2"/>
        <a:buChar char="ü"/>
        <a:defRPr sz="1600" b="1">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pic>
        <p:nvPicPr>
          <p:cNvPr id="3074" name="Picture 1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7740650"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Rectangle 11"/>
          <p:cNvSpPr>
            <a:spLocks noGrp="1" noChangeArrowheads="1"/>
          </p:cNvSpPr>
          <p:nvPr>
            <p:ph type="title"/>
          </p:nvPr>
        </p:nvSpPr>
        <p:spPr bwMode="auto">
          <a:xfrm>
            <a:off x="93663" y="115888"/>
            <a:ext cx="7573962"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3076" name="Rectangle 12"/>
          <p:cNvSpPr>
            <a:spLocks noGrp="1" noChangeArrowheads="1"/>
          </p:cNvSpPr>
          <p:nvPr>
            <p:ph type="body" idx="1"/>
          </p:nvPr>
        </p:nvSpPr>
        <p:spPr bwMode="auto">
          <a:xfrm>
            <a:off x="396875" y="1557338"/>
            <a:ext cx="8496300" cy="459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p:txBody>
      </p:sp>
      <p:sp>
        <p:nvSpPr>
          <p:cNvPr id="3077" name="Text Box 13"/>
          <p:cNvSpPr txBox="1">
            <a:spLocks noChangeArrowheads="1"/>
          </p:cNvSpPr>
          <p:nvPr/>
        </p:nvSpPr>
        <p:spPr bwMode="auto">
          <a:xfrm>
            <a:off x="7667625" y="6538913"/>
            <a:ext cx="14033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r" eaLnBrk="1" hangingPunct="1">
              <a:defRPr/>
            </a:pPr>
            <a:r>
              <a:rPr lang="en-US" altLang="zh-CN" smtClean="0">
                <a:latin typeface="Arial" pitchFamily="34" charset="0"/>
                <a:ea typeface="华文楷体" pitchFamily="2" charset="-122"/>
                <a:cs typeface="Tahoma" pitchFamily="34" charset="0"/>
              </a:rPr>
              <a:t>-</a:t>
            </a:r>
            <a:fld id="{EBE18A64-FF67-4662-B487-E8165AC66DC4}" type="slidenum">
              <a:rPr lang="en-US" altLang="zh-CN" smtClean="0">
                <a:latin typeface="Arial" pitchFamily="34" charset="0"/>
                <a:ea typeface="华文楷体" pitchFamily="2" charset="-122"/>
                <a:cs typeface="Tahoma" pitchFamily="34" charset="0"/>
              </a:rPr>
              <a:pPr algn="r" eaLnBrk="1" hangingPunct="1">
                <a:defRPr/>
              </a:pPr>
              <a:t>‹#›</a:t>
            </a:fld>
            <a:r>
              <a:rPr lang="en-US" altLang="zh-CN" smtClean="0">
                <a:latin typeface="Arial" pitchFamily="34" charset="0"/>
                <a:ea typeface="华文楷体" pitchFamily="2" charset="-122"/>
                <a:cs typeface="Tahoma" pitchFamily="34" charset="0"/>
              </a:rPr>
              <a:t>-</a:t>
            </a:r>
          </a:p>
        </p:txBody>
      </p:sp>
      <p:pic>
        <p:nvPicPr>
          <p:cNvPr id="3078" name="Picture 24" descr="图片1"/>
          <p:cNvPicPr>
            <a:picLocks noChangeAspect="1" noChangeArrowheads="1"/>
          </p:cNvPicPr>
          <p:nvPr/>
        </p:nvPicPr>
        <p:blipFill>
          <a:blip r:embed="rId14">
            <a:extLst>
              <a:ext uri="{28A0092B-C50C-407E-A947-70E740481C1C}">
                <a14:useLocalDpi xmlns:a14="http://schemas.microsoft.com/office/drawing/2010/main" val="0"/>
              </a:ext>
            </a:extLst>
          </a:blip>
          <a:srcRect t="7796"/>
          <a:stretch>
            <a:fillRect/>
          </a:stretch>
        </p:blipFill>
        <p:spPr bwMode="auto">
          <a:xfrm>
            <a:off x="7885113" y="44450"/>
            <a:ext cx="10668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8085" r:id="rId1"/>
    <p:sldLayoutId id="2147488086" r:id="rId2"/>
    <p:sldLayoutId id="2147488087" r:id="rId3"/>
    <p:sldLayoutId id="2147488088" r:id="rId4"/>
    <p:sldLayoutId id="2147488089" r:id="rId5"/>
    <p:sldLayoutId id="2147488090" r:id="rId6"/>
    <p:sldLayoutId id="2147488091" r:id="rId7"/>
    <p:sldLayoutId id="2147488092" r:id="rId8"/>
    <p:sldLayoutId id="2147488093" r:id="rId9"/>
    <p:sldLayoutId id="2147488094" r:id="rId10"/>
    <p:sldLayoutId id="2147488095" r:id="rId11"/>
  </p:sldLayoutIdLst>
  <p:txStyles>
    <p:titleStyle>
      <a:lvl1pPr algn="l" rtl="0" eaLnBrk="0" fontAlgn="base" hangingPunct="0">
        <a:spcBef>
          <a:spcPct val="0"/>
        </a:spcBef>
        <a:spcAft>
          <a:spcPct val="0"/>
        </a:spcAft>
        <a:defRPr sz="2800" b="1">
          <a:solidFill>
            <a:schemeClr val="bg1"/>
          </a:solidFill>
          <a:latin typeface="+mj-lt"/>
          <a:ea typeface="+mj-ea"/>
          <a:cs typeface="+mj-cs"/>
        </a:defRPr>
      </a:lvl1pPr>
      <a:lvl2pPr algn="l" rtl="0" eaLnBrk="0" fontAlgn="base" hangingPunct="0">
        <a:spcBef>
          <a:spcPct val="0"/>
        </a:spcBef>
        <a:spcAft>
          <a:spcPct val="0"/>
        </a:spcAft>
        <a:defRPr sz="2800" b="1">
          <a:solidFill>
            <a:schemeClr val="bg1"/>
          </a:solidFill>
          <a:latin typeface="华文细黑" pitchFamily="2" charset="-122"/>
          <a:ea typeface="华文细黑" pitchFamily="2" charset="-122"/>
        </a:defRPr>
      </a:lvl2pPr>
      <a:lvl3pPr algn="l" rtl="0" eaLnBrk="0" fontAlgn="base" hangingPunct="0">
        <a:spcBef>
          <a:spcPct val="0"/>
        </a:spcBef>
        <a:spcAft>
          <a:spcPct val="0"/>
        </a:spcAft>
        <a:defRPr sz="2800" b="1">
          <a:solidFill>
            <a:schemeClr val="bg1"/>
          </a:solidFill>
          <a:latin typeface="华文细黑" pitchFamily="2" charset="-122"/>
          <a:ea typeface="华文细黑" pitchFamily="2" charset="-122"/>
        </a:defRPr>
      </a:lvl3pPr>
      <a:lvl4pPr algn="l" rtl="0" eaLnBrk="0" fontAlgn="base" hangingPunct="0">
        <a:spcBef>
          <a:spcPct val="0"/>
        </a:spcBef>
        <a:spcAft>
          <a:spcPct val="0"/>
        </a:spcAft>
        <a:defRPr sz="2800" b="1">
          <a:solidFill>
            <a:schemeClr val="bg1"/>
          </a:solidFill>
          <a:latin typeface="华文细黑" pitchFamily="2" charset="-122"/>
          <a:ea typeface="华文细黑" pitchFamily="2" charset="-122"/>
        </a:defRPr>
      </a:lvl4pPr>
      <a:lvl5pPr algn="l" rtl="0" eaLnBrk="0" fontAlgn="base" hangingPunct="0">
        <a:spcBef>
          <a:spcPct val="0"/>
        </a:spcBef>
        <a:spcAft>
          <a:spcPct val="0"/>
        </a:spcAft>
        <a:defRPr sz="2800" b="1">
          <a:solidFill>
            <a:schemeClr val="bg1"/>
          </a:solidFill>
          <a:latin typeface="华文细黑" pitchFamily="2" charset="-122"/>
          <a:ea typeface="华文细黑" pitchFamily="2" charset="-122"/>
        </a:defRPr>
      </a:lvl5pPr>
      <a:lvl6pPr marL="457200" algn="l" rtl="0" eaLnBrk="0" fontAlgn="base" hangingPunct="0">
        <a:spcBef>
          <a:spcPct val="0"/>
        </a:spcBef>
        <a:spcAft>
          <a:spcPct val="0"/>
        </a:spcAft>
        <a:defRPr sz="2800" b="1">
          <a:solidFill>
            <a:schemeClr val="bg1"/>
          </a:solidFill>
          <a:latin typeface="华文细黑" pitchFamily="2" charset="-122"/>
          <a:ea typeface="华文细黑" pitchFamily="2" charset="-122"/>
        </a:defRPr>
      </a:lvl6pPr>
      <a:lvl7pPr marL="914400" algn="l" rtl="0" eaLnBrk="0" fontAlgn="base" hangingPunct="0">
        <a:spcBef>
          <a:spcPct val="0"/>
        </a:spcBef>
        <a:spcAft>
          <a:spcPct val="0"/>
        </a:spcAft>
        <a:defRPr sz="2800" b="1">
          <a:solidFill>
            <a:schemeClr val="bg1"/>
          </a:solidFill>
          <a:latin typeface="华文细黑" pitchFamily="2" charset="-122"/>
          <a:ea typeface="华文细黑" pitchFamily="2" charset="-122"/>
        </a:defRPr>
      </a:lvl7pPr>
      <a:lvl8pPr marL="1371600" algn="l" rtl="0" eaLnBrk="0" fontAlgn="base" hangingPunct="0">
        <a:spcBef>
          <a:spcPct val="0"/>
        </a:spcBef>
        <a:spcAft>
          <a:spcPct val="0"/>
        </a:spcAft>
        <a:defRPr sz="2800" b="1">
          <a:solidFill>
            <a:schemeClr val="bg1"/>
          </a:solidFill>
          <a:latin typeface="华文细黑" pitchFamily="2" charset="-122"/>
          <a:ea typeface="华文细黑" pitchFamily="2" charset="-122"/>
        </a:defRPr>
      </a:lvl8pPr>
      <a:lvl9pPr marL="1828800" algn="l" rtl="0" eaLnBrk="0" fontAlgn="base" hangingPunct="0">
        <a:spcBef>
          <a:spcPct val="0"/>
        </a:spcBef>
        <a:spcAft>
          <a:spcPct val="0"/>
        </a:spcAft>
        <a:defRPr sz="2800" b="1">
          <a:solidFill>
            <a:schemeClr val="bg1"/>
          </a:solidFill>
          <a:latin typeface="华文细黑" pitchFamily="2" charset="-122"/>
          <a:ea typeface="华文细黑" pitchFamily="2" charset="-122"/>
        </a:defRPr>
      </a:lvl9pPr>
    </p:titleStyle>
    <p:bodyStyle>
      <a:lvl1pPr marL="342900" indent="-342900" algn="l" rtl="0" eaLnBrk="0" fontAlgn="base" hangingPunct="0">
        <a:lnSpc>
          <a:spcPct val="120000"/>
        </a:lnSpc>
        <a:spcBef>
          <a:spcPct val="40000"/>
        </a:spcBef>
        <a:spcAft>
          <a:spcPct val="0"/>
        </a:spcAft>
        <a:buFont typeface="Wingdings" pitchFamily="2" charset="2"/>
        <a:buChar char="²"/>
        <a:defRPr sz="2400" b="1">
          <a:solidFill>
            <a:schemeClr val="tx1"/>
          </a:solidFill>
          <a:latin typeface="+mn-lt"/>
          <a:ea typeface="+mn-ea"/>
          <a:cs typeface="华文细黑" pitchFamily="2" charset="-122"/>
        </a:defRPr>
      </a:lvl1pPr>
      <a:lvl2pPr marL="742950" indent="-285750" algn="l" rtl="0" eaLnBrk="0" fontAlgn="base" hangingPunct="0">
        <a:lnSpc>
          <a:spcPct val="120000"/>
        </a:lnSpc>
        <a:spcBef>
          <a:spcPct val="40000"/>
        </a:spcBef>
        <a:spcAft>
          <a:spcPct val="0"/>
        </a:spcAft>
        <a:buChar char="–"/>
        <a:defRPr sz="2000" b="1">
          <a:solidFill>
            <a:schemeClr val="tx1"/>
          </a:solidFill>
          <a:latin typeface="+mn-lt"/>
          <a:ea typeface="+mn-ea"/>
          <a:cs typeface="华文细黑" pitchFamily="2" charset="-122"/>
        </a:defRPr>
      </a:lvl2pPr>
      <a:lvl3pPr marL="1143000" indent="-228600" algn="l" rtl="0" eaLnBrk="0" fontAlgn="base" hangingPunct="0">
        <a:lnSpc>
          <a:spcPct val="120000"/>
        </a:lnSpc>
        <a:spcBef>
          <a:spcPct val="40000"/>
        </a:spcBef>
        <a:spcAft>
          <a:spcPct val="0"/>
        </a:spcAft>
        <a:buChar char="•"/>
        <a:defRPr sz="2400" b="1">
          <a:solidFill>
            <a:schemeClr val="tx1"/>
          </a:solidFill>
          <a:latin typeface="+mn-lt"/>
          <a:ea typeface="+mn-ea"/>
          <a:cs typeface="华文细黑" pitchFamily="2" charset="-122"/>
        </a:defRPr>
      </a:lvl3pPr>
      <a:lvl4pPr marL="1600200" indent="-228600" algn="l" rtl="0" eaLnBrk="0" fontAlgn="base" hangingPunct="0">
        <a:lnSpc>
          <a:spcPct val="120000"/>
        </a:lnSpc>
        <a:spcBef>
          <a:spcPct val="40000"/>
        </a:spcBef>
        <a:spcAft>
          <a:spcPct val="0"/>
        </a:spcAft>
        <a:buFont typeface="Wingdings" pitchFamily="2" charset="2"/>
        <a:buChar char="ü"/>
        <a:defRPr sz="1600" b="1">
          <a:solidFill>
            <a:schemeClr val="tx1"/>
          </a:solidFill>
          <a:latin typeface="+mn-lt"/>
          <a:ea typeface="+mn-ea"/>
          <a:cs typeface="华文细黑" pitchFamily="2" charset="-122"/>
        </a:defRPr>
      </a:lvl4pPr>
      <a:lvl5pPr marL="2057400" indent="-228600" algn="l" rtl="0" eaLnBrk="0" fontAlgn="base" hangingPunct="0">
        <a:spcBef>
          <a:spcPct val="20000"/>
        </a:spcBef>
        <a:spcAft>
          <a:spcPct val="0"/>
        </a:spcAft>
        <a:buChar char="»"/>
        <a:defRPr sz="2000">
          <a:solidFill>
            <a:schemeClr val="tx1"/>
          </a:solidFill>
          <a:latin typeface="+mn-lt"/>
          <a:ea typeface="宋体" pitchFamily="2" charset="-122"/>
          <a:cs typeface="华文细黑" pitchFamily="2" charset="-122"/>
        </a:defRPr>
      </a:lvl5pPr>
      <a:lvl6pPr marL="2514600" indent="-228600" algn="l" rtl="0" eaLnBrk="0" fontAlgn="base" hangingPunct="0">
        <a:spcBef>
          <a:spcPct val="20000"/>
        </a:spcBef>
        <a:spcAft>
          <a:spcPct val="0"/>
        </a:spcAft>
        <a:buChar char="»"/>
        <a:defRPr sz="2000">
          <a:solidFill>
            <a:schemeClr val="tx1"/>
          </a:solidFill>
          <a:latin typeface="+mn-lt"/>
          <a:ea typeface="宋体" pitchFamily="2" charset="-122"/>
        </a:defRPr>
      </a:lvl6pPr>
      <a:lvl7pPr marL="2971800" indent="-228600" algn="l" rtl="0" eaLnBrk="0" fontAlgn="base" hangingPunct="0">
        <a:spcBef>
          <a:spcPct val="20000"/>
        </a:spcBef>
        <a:spcAft>
          <a:spcPct val="0"/>
        </a:spcAft>
        <a:buChar char="»"/>
        <a:defRPr sz="2000">
          <a:solidFill>
            <a:schemeClr val="tx1"/>
          </a:solidFill>
          <a:latin typeface="+mn-lt"/>
          <a:ea typeface="宋体" pitchFamily="2" charset="-122"/>
        </a:defRPr>
      </a:lvl7pPr>
      <a:lvl8pPr marL="3429000" indent="-228600" algn="l" rtl="0" eaLnBrk="0" fontAlgn="base" hangingPunct="0">
        <a:spcBef>
          <a:spcPct val="20000"/>
        </a:spcBef>
        <a:spcAft>
          <a:spcPct val="0"/>
        </a:spcAft>
        <a:buChar char="»"/>
        <a:defRPr sz="2000">
          <a:solidFill>
            <a:schemeClr val="tx1"/>
          </a:solidFill>
          <a:latin typeface="+mn-lt"/>
          <a:ea typeface="宋体" pitchFamily="2" charset="-122"/>
        </a:defRPr>
      </a:lvl8pPr>
      <a:lvl9pPr marL="3886200" indent="-228600" algn="l" rtl="0" eaLnBrk="0" fontAlgn="base" hangingPunct="0">
        <a:spcBef>
          <a:spcPct val="20000"/>
        </a:spcBef>
        <a:spcAft>
          <a:spcPct val="0"/>
        </a:spcAft>
        <a:buChar char="»"/>
        <a:defRPr sz="2000">
          <a:solidFill>
            <a:schemeClr val="tx1"/>
          </a:solidFill>
          <a:latin typeface="+mn-lt"/>
          <a:ea typeface="宋体" pitchFamily="2" charset="-122"/>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pic>
        <p:nvPicPr>
          <p:cNvPr id="4099" name="Picture 3" descr="移动世博特形LOGOsmall"/>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62938" y="7938"/>
            <a:ext cx="874712" cy="8270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100" name="Picture 12"/>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ltGray">
          <a:xfrm>
            <a:off x="0" y="0"/>
            <a:ext cx="8262938"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4101" name="Rectangle 2"/>
          <p:cNvSpPr>
            <a:spLocks noChangeArrowheads="1"/>
          </p:cNvSpPr>
          <p:nvPr/>
        </p:nvSpPr>
        <p:spPr bwMode="auto">
          <a:xfrm>
            <a:off x="0" y="0"/>
            <a:ext cx="8201025"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zh-CN" altLang="zh-CN" sz="3200">
              <a:solidFill>
                <a:schemeClr val="bg1"/>
              </a:solidFill>
              <a:latin typeface="Arial" pitchFamily="34" charset="0"/>
              <a:ea typeface="黑体" pitchFamily="49" charset="-122"/>
            </a:endParaRPr>
          </a:p>
        </p:txBody>
      </p:sp>
      <p:sp>
        <p:nvSpPr>
          <p:cNvPr id="4102" name="Rectangle 2"/>
          <p:cNvSpPr>
            <a:spLocks noGrp="1" noChangeArrowheads="1"/>
          </p:cNvSpPr>
          <p:nvPr>
            <p:ph type="title"/>
          </p:nvPr>
        </p:nvSpPr>
        <p:spPr bwMode="auto">
          <a:xfrm>
            <a:off x="0" y="0"/>
            <a:ext cx="8262938"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4103" name="Rectangle 10"/>
          <p:cNvSpPr>
            <a:spLocks noChangeArrowheads="1"/>
          </p:cNvSpPr>
          <p:nvPr/>
        </p:nvSpPr>
        <p:spPr bwMode="auto">
          <a:xfrm>
            <a:off x="0" y="6624638"/>
            <a:ext cx="1050925"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kumimoji="1" lang="en-US" altLang="zh-CN">
                <a:solidFill>
                  <a:srgbClr val="0033CC"/>
                </a:solidFill>
                <a:latin typeface="Arial" pitchFamily="34" charset="0"/>
                <a:ea typeface="宋体" pitchFamily="2" charset="-122"/>
              </a:rPr>
              <a:t>- </a:t>
            </a:r>
            <a:fld id="{1ED6A0A4-F88E-4D83-932E-E84CE1AC4608}" type="slidenum">
              <a:rPr kumimoji="1" lang="en-US" altLang="zh-CN">
                <a:solidFill>
                  <a:srgbClr val="0033CC"/>
                </a:solidFill>
                <a:latin typeface="Arial" pitchFamily="34" charset="0"/>
                <a:ea typeface="宋体" pitchFamily="2" charset="-122"/>
              </a:rPr>
              <a:pPr algn="ctr"/>
              <a:t>‹#›</a:t>
            </a:fld>
            <a:r>
              <a:rPr kumimoji="1" lang="en-US" altLang="zh-CN">
                <a:solidFill>
                  <a:srgbClr val="0033CC"/>
                </a:solidFill>
                <a:latin typeface="Arial" pitchFamily="34" charset="0"/>
                <a:ea typeface="宋体" pitchFamily="2" charset="-122"/>
              </a:rPr>
              <a:t> -</a:t>
            </a:r>
          </a:p>
        </p:txBody>
      </p:sp>
    </p:spTree>
  </p:cSld>
  <p:clrMap bg1="lt1" tx1="dk1" bg2="lt2" tx2="dk2" accent1="accent1" accent2="accent2" accent3="accent3" accent4="accent4" accent5="accent5" accent6="accent6" hlink="hlink" folHlink="folHlink"/>
  <p:sldLayoutIdLst>
    <p:sldLayoutId id="2147488096" r:id="rId1"/>
    <p:sldLayoutId id="2147488097" r:id="rId2"/>
    <p:sldLayoutId id="2147488098" r:id="rId3"/>
    <p:sldLayoutId id="2147488099" r:id="rId4"/>
    <p:sldLayoutId id="2147488100" r:id="rId5"/>
    <p:sldLayoutId id="2147488101" r:id="rId6"/>
    <p:sldLayoutId id="2147488102" r:id="rId7"/>
    <p:sldLayoutId id="2147488103" r:id="rId8"/>
    <p:sldLayoutId id="2147488104" r:id="rId9"/>
    <p:sldLayoutId id="2147488105" r:id="rId10"/>
    <p:sldLayoutId id="2147488106" r:id="rId11"/>
  </p:sldLayoutIdLst>
  <p:transition>
    <p:fade/>
  </p:transition>
  <p:timing>
    <p:tnLst>
      <p:par>
        <p:cTn id="1" dur="indefinite" restart="never" nodeType="tmRoot"/>
      </p:par>
    </p:tnLst>
  </p:timing>
  <p:txStyles>
    <p:titleStyle>
      <a:lvl1pPr algn="l" rtl="0" eaLnBrk="0" fontAlgn="base" hangingPunct="0">
        <a:spcBef>
          <a:spcPct val="0"/>
        </a:spcBef>
        <a:spcAft>
          <a:spcPct val="0"/>
        </a:spcAft>
        <a:defRPr sz="2800" b="1">
          <a:solidFill>
            <a:schemeClr val="bg1"/>
          </a:solidFill>
          <a:latin typeface="+mj-lt"/>
          <a:ea typeface="+mj-ea"/>
          <a:cs typeface="+mj-cs"/>
        </a:defRPr>
      </a:lvl1pPr>
      <a:lvl2pPr algn="l" rtl="0" eaLnBrk="0" fontAlgn="base" hangingPunct="0">
        <a:spcBef>
          <a:spcPct val="0"/>
        </a:spcBef>
        <a:spcAft>
          <a:spcPct val="0"/>
        </a:spcAft>
        <a:defRPr sz="2800" b="1">
          <a:solidFill>
            <a:schemeClr val="bg1"/>
          </a:solidFill>
          <a:latin typeface="Arial" pitchFamily="34" charset="0"/>
          <a:ea typeface="微软雅黑" pitchFamily="34" charset="-122"/>
          <a:cs typeface="Arial" pitchFamily="34" charset="0"/>
        </a:defRPr>
      </a:lvl2pPr>
      <a:lvl3pPr algn="l" rtl="0" eaLnBrk="0" fontAlgn="base" hangingPunct="0">
        <a:spcBef>
          <a:spcPct val="0"/>
        </a:spcBef>
        <a:spcAft>
          <a:spcPct val="0"/>
        </a:spcAft>
        <a:defRPr sz="2800" b="1">
          <a:solidFill>
            <a:schemeClr val="bg1"/>
          </a:solidFill>
          <a:latin typeface="Arial" pitchFamily="34" charset="0"/>
          <a:ea typeface="微软雅黑" pitchFamily="34" charset="-122"/>
          <a:cs typeface="Arial" pitchFamily="34" charset="0"/>
        </a:defRPr>
      </a:lvl3pPr>
      <a:lvl4pPr algn="l" rtl="0" eaLnBrk="0" fontAlgn="base" hangingPunct="0">
        <a:spcBef>
          <a:spcPct val="0"/>
        </a:spcBef>
        <a:spcAft>
          <a:spcPct val="0"/>
        </a:spcAft>
        <a:defRPr sz="2800" b="1">
          <a:solidFill>
            <a:schemeClr val="bg1"/>
          </a:solidFill>
          <a:latin typeface="Arial" pitchFamily="34" charset="0"/>
          <a:ea typeface="微软雅黑" pitchFamily="34" charset="-122"/>
          <a:cs typeface="Arial" pitchFamily="34" charset="0"/>
        </a:defRPr>
      </a:lvl4pPr>
      <a:lvl5pPr algn="l" rtl="0" eaLnBrk="0" fontAlgn="base" hangingPunct="0">
        <a:spcBef>
          <a:spcPct val="0"/>
        </a:spcBef>
        <a:spcAft>
          <a:spcPct val="0"/>
        </a:spcAft>
        <a:defRPr sz="2800" b="1">
          <a:solidFill>
            <a:schemeClr val="bg1"/>
          </a:solidFill>
          <a:latin typeface="Arial" pitchFamily="34" charset="0"/>
          <a:ea typeface="微软雅黑" pitchFamily="34" charset="-122"/>
          <a:cs typeface="Arial" pitchFamily="34" charset="0"/>
        </a:defRPr>
      </a:lvl5pPr>
      <a:lvl6pPr marL="457200" algn="l" rtl="0" fontAlgn="base">
        <a:spcBef>
          <a:spcPct val="0"/>
        </a:spcBef>
        <a:spcAft>
          <a:spcPct val="0"/>
        </a:spcAft>
        <a:defRPr sz="2800" b="1">
          <a:solidFill>
            <a:schemeClr val="bg1"/>
          </a:solidFill>
          <a:latin typeface="Arial" pitchFamily="34" charset="0"/>
          <a:ea typeface="微软雅黑" pitchFamily="34" charset="-122"/>
          <a:cs typeface="Arial" pitchFamily="34" charset="0"/>
        </a:defRPr>
      </a:lvl6pPr>
      <a:lvl7pPr marL="914400" algn="l" rtl="0" fontAlgn="base">
        <a:spcBef>
          <a:spcPct val="0"/>
        </a:spcBef>
        <a:spcAft>
          <a:spcPct val="0"/>
        </a:spcAft>
        <a:defRPr sz="2800" b="1">
          <a:solidFill>
            <a:schemeClr val="bg1"/>
          </a:solidFill>
          <a:latin typeface="Arial" pitchFamily="34" charset="0"/>
          <a:ea typeface="微软雅黑" pitchFamily="34" charset="-122"/>
          <a:cs typeface="Arial" pitchFamily="34" charset="0"/>
        </a:defRPr>
      </a:lvl7pPr>
      <a:lvl8pPr marL="1371600" algn="l" rtl="0" fontAlgn="base">
        <a:spcBef>
          <a:spcPct val="0"/>
        </a:spcBef>
        <a:spcAft>
          <a:spcPct val="0"/>
        </a:spcAft>
        <a:defRPr sz="2800" b="1">
          <a:solidFill>
            <a:schemeClr val="bg1"/>
          </a:solidFill>
          <a:latin typeface="Arial" pitchFamily="34" charset="0"/>
          <a:ea typeface="微软雅黑" pitchFamily="34" charset="-122"/>
          <a:cs typeface="Arial" pitchFamily="34" charset="0"/>
        </a:defRPr>
      </a:lvl8pPr>
      <a:lvl9pPr marL="1828800" algn="l" rtl="0" fontAlgn="base">
        <a:spcBef>
          <a:spcPct val="0"/>
        </a:spcBef>
        <a:spcAft>
          <a:spcPct val="0"/>
        </a:spcAft>
        <a:defRPr sz="2800" b="1">
          <a:solidFill>
            <a:schemeClr val="bg1"/>
          </a:solidFill>
          <a:latin typeface="Arial" pitchFamily="34" charset="0"/>
          <a:ea typeface="微软雅黑" pitchFamily="34" charset="-122"/>
          <a:cs typeface="Arial" pitchFamily="34" charset="0"/>
        </a:defRPr>
      </a:lvl9pPr>
    </p:titleStyle>
    <p:bodyStyle>
      <a:lvl1pPr marL="342900" indent="-342900" algn="l" rtl="0" eaLnBrk="0" fontAlgn="base" hangingPunct="0">
        <a:lnSpc>
          <a:spcPct val="110000"/>
        </a:lnSpc>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lnSpc>
          <a:spcPct val="110000"/>
        </a:lnSpc>
        <a:spcBef>
          <a:spcPct val="20000"/>
        </a:spcBef>
        <a:spcAft>
          <a:spcPct val="0"/>
        </a:spcAft>
        <a:buChar char="–"/>
        <a:defRPr sz="2800">
          <a:solidFill>
            <a:schemeClr val="tx1"/>
          </a:solidFill>
          <a:latin typeface="+mn-lt"/>
          <a:ea typeface="+mn-ea"/>
          <a:cs typeface="+mn-cs"/>
        </a:defRPr>
      </a:lvl2pPr>
      <a:lvl3pPr marL="1143000" indent="-228600" algn="l" rtl="0" eaLnBrk="0" fontAlgn="base" hangingPunct="0">
        <a:lnSpc>
          <a:spcPct val="110000"/>
        </a:lnSpc>
        <a:spcBef>
          <a:spcPct val="20000"/>
        </a:spcBef>
        <a:spcAft>
          <a:spcPct val="0"/>
        </a:spcAft>
        <a:buChar char="•"/>
        <a:defRPr sz="2400">
          <a:solidFill>
            <a:schemeClr val="tx1"/>
          </a:solidFill>
          <a:latin typeface="+mn-lt"/>
          <a:ea typeface="+mn-ea"/>
          <a:cs typeface="+mn-cs"/>
        </a:defRPr>
      </a:lvl3pPr>
      <a:lvl4pPr marL="1600200" indent="-228600" algn="l" rtl="0" eaLnBrk="0" fontAlgn="base" hangingPunct="0">
        <a:lnSpc>
          <a:spcPct val="110000"/>
        </a:lnSpc>
        <a:spcBef>
          <a:spcPct val="20000"/>
        </a:spcBef>
        <a:spcAft>
          <a:spcPct val="0"/>
        </a:spcAft>
        <a:buChar char="–"/>
        <a:defRPr sz="2000">
          <a:solidFill>
            <a:schemeClr val="tx1"/>
          </a:solidFill>
          <a:latin typeface="+mn-lt"/>
          <a:ea typeface="+mn-ea"/>
          <a:cs typeface="+mn-cs"/>
        </a:defRPr>
      </a:lvl4pPr>
      <a:lvl5pPr marL="2057400" indent="-228600" algn="l" rtl="0" eaLnBrk="0" fontAlgn="base" hangingPunct="0">
        <a:lnSpc>
          <a:spcPct val="110000"/>
        </a:lnSpc>
        <a:spcBef>
          <a:spcPct val="20000"/>
        </a:spcBef>
        <a:spcAft>
          <a:spcPct val="0"/>
        </a:spcAft>
        <a:buChar char="»"/>
        <a:defRPr sz="2000">
          <a:solidFill>
            <a:schemeClr val="tx1"/>
          </a:solidFill>
          <a:latin typeface="+mn-lt"/>
          <a:ea typeface="+mn-ea"/>
          <a:cs typeface="+mn-cs"/>
        </a:defRPr>
      </a:lvl5pPr>
      <a:lvl6pPr marL="2514600" indent="-228600" algn="l" rtl="0" fontAlgn="base">
        <a:lnSpc>
          <a:spcPct val="110000"/>
        </a:lnSpc>
        <a:spcBef>
          <a:spcPct val="20000"/>
        </a:spcBef>
        <a:spcAft>
          <a:spcPct val="0"/>
        </a:spcAft>
        <a:buChar char="»"/>
        <a:defRPr sz="2000">
          <a:solidFill>
            <a:schemeClr val="tx1"/>
          </a:solidFill>
          <a:latin typeface="+mn-lt"/>
          <a:ea typeface="+mn-ea"/>
          <a:cs typeface="+mn-cs"/>
        </a:defRPr>
      </a:lvl6pPr>
      <a:lvl7pPr marL="2971800" indent="-228600" algn="l" rtl="0" fontAlgn="base">
        <a:lnSpc>
          <a:spcPct val="110000"/>
        </a:lnSpc>
        <a:spcBef>
          <a:spcPct val="20000"/>
        </a:spcBef>
        <a:spcAft>
          <a:spcPct val="0"/>
        </a:spcAft>
        <a:buChar char="»"/>
        <a:defRPr sz="2000">
          <a:solidFill>
            <a:schemeClr val="tx1"/>
          </a:solidFill>
          <a:latin typeface="+mn-lt"/>
          <a:ea typeface="+mn-ea"/>
          <a:cs typeface="+mn-cs"/>
        </a:defRPr>
      </a:lvl7pPr>
      <a:lvl8pPr marL="3429000" indent="-228600" algn="l" rtl="0" fontAlgn="base">
        <a:lnSpc>
          <a:spcPct val="110000"/>
        </a:lnSpc>
        <a:spcBef>
          <a:spcPct val="20000"/>
        </a:spcBef>
        <a:spcAft>
          <a:spcPct val="0"/>
        </a:spcAft>
        <a:buChar char="»"/>
        <a:defRPr sz="2000">
          <a:solidFill>
            <a:schemeClr val="tx1"/>
          </a:solidFill>
          <a:latin typeface="+mn-lt"/>
          <a:ea typeface="+mn-ea"/>
          <a:cs typeface="+mn-cs"/>
        </a:defRPr>
      </a:lvl8pPr>
      <a:lvl9pPr marL="3886200" indent="-228600" algn="l" rtl="0" fontAlgn="base">
        <a:lnSpc>
          <a:spcPct val="110000"/>
        </a:lnSpc>
        <a:spcBef>
          <a:spcPct val="20000"/>
        </a:spcBef>
        <a:spcAft>
          <a:spcPct val="0"/>
        </a:spcAft>
        <a:buChar char="»"/>
        <a:defRPr sz="20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hyperlink" Target="http://images.google.com/imgres?imgurl=http://4.bp.blogspot.com/_iRlXuzVuaSk/RpzIY1TC6KI/AAAAAAAAAcw/rt2snmMxeNU/s400/Phoenix+Building.JPG&amp;imgrefurl=http://historicbuildingsct.blogspot.com/2007_07_01_archive.html&amp;usg=__lxleSqkn7zUIQY2WDEeObx4lVvE=&amp;h=300&amp;w=400&amp;sz=31&amp;hl=ko&amp;start=3&amp;um=1&amp;tbnid=QF68DXSlD5CGZM:&amp;tbnh=93&amp;tbnw=124&amp;prev=/images?q=company+building&amp;hl=ko&amp;lr=&amp;um=1" TargetMode="External"/><Relationship Id="rId18" Type="http://schemas.openxmlformats.org/officeDocument/2006/relationships/image" Target="../media/image25.png"/><Relationship Id="rId3" Type="http://schemas.openxmlformats.org/officeDocument/2006/relationships/image" Target="../media/image16.jpeg"/><Relationship Id="rId21" Type="http://schemas.openxmlformats.org/officeDocument/2006/relationships/image" Target="../media/image28.jpeg"/><Relationship Id="rId7" Type="http://schemas.openxmlformats.org/officeDocument/2006/relationships/hyperlink" Target="http://images.google.com/imgres?imgurl=http://upload.wikimedia.org/wikipedia/commons/6/6d/Datacenter-telecom_edit.jpg&amp;imgrefurl=http://commons.wikimedia.org/wiki/File:Datacenter-telecom_edit.jpg&amp;usg=__9SSf1_YXw5VfohL9pIoV2Xw9u8o=&amp;h=641&amp;w=811&amp;sz=256&amp;hl=ko&amp;start=29&amp;um=1&amp;tbnid=QnpO-SWyFOc81M:&amp;tbnh=114&amp;tbnw=144&amp;prev=/images?q=data+center&amp;ndsp=18&amp;hl=ko&amp;lr=&amp;sa=N&amp;start=18&amp;um=1" TargetMode="External"/><Relationship Id="rId12" Type="http://schemas.openxmlformats.org/officeDocument/2006/relationships/image" Target="../media/image21.jpeg"/><Relationship Id="rId17" Type="http://schemas.openxmlformats.org/officeDocument/2006/relationships/image" Target="../media/image24.jpeg"/><Relationship Id="rId2" Type="http://schemas.openxmlformats.org/officeDocument/2006/relationships/notesSlide" Target="../notesSlides/notesSlide2.xml"/><Relationship Id="rId16" Type="http://schemas.openxmlformats.org/officeDocument/2006/relationships/image" Target="../media/image23.jpeg"/><Relationship Id="rId20" Type="http://schemas.openxmlformats.org/officeDocument/2006/relationships/image" Target="../media/image27.jpeg"/><Relationship Id="rId1" Type="http://schemas.openxmlformats.org/officeDocument/2006/relationships/slideLayout" Target="../slideLayouts/slideLayout2.xml"/><Relationship Id="rId6" Type="http://schemas.openxmlformats.org/officeDocument/2006/relationships/image" Target="../media/image18.jpeg"/><Relationship Id="rId11" Type="http://schemas.openxmlformats.org/officeDocument/2006/relationships/hyperlink" Target="http://images.google.com/imgres?imgurl=http://www.burnsupport.org.nz/images/cartoons/chimneys.gif&amp;imgrefurl=http://www.burnsupport.org.nz/pages/checklst.htm&amp;usg=__dB1_6e62vvy9lpSIJU3k3UckAa0=&amp;h=364&amp;w=465&amp;sz=6&amp;hl=ko&amp;start=155&amp;um=1&amp;tbnid=6I7bxwqG27fjeM:&amp;tbnh=100&amp;tbnw=128&amp;prev=/images?q=company+chimny+cartoon&amp;ndsp=18&amp;hl=ko&amp;lr=&amp;sa=N&amp;start=144&amp;um=1" TargetMode="External"/><Relationship Id="rId5" Type="http://schemas.openxmlformats.org/officeDocument/2006/relationships/hyperlink" Target="http://images.google.com/imgres?imgurl=http://img.archiexpo.com/images_ae/photo-g/power-socket-20808.jpg&amp;imgrefurl=http://www.archiexpo.com/prod/lutron-electronics/power-socket-4326-20808.html&amp;usg=__33BJ3I0VFtJ-Twly7GeyV1NmcDs=&amp;h=481&amp;w=481&amp;sz=22&amp;hl=ko&amp;start=9&amp;um=1&amp;tbnid=ICOjlO-QXd4w-M:&amp;tbnh=129&amp;tbnw=129&amp;prev=/images?q=power+socket&amp;hl=ko&amp;lr=&amp;um=1" TargetMode="External"/><Relationship Id="rId15" Type="http://schemas.openxmlformats.org/officeDocument/2006/relationships/hyperlink" Target="http://images.google.com/imgres?imgurl=http://farm1.static.flickr.com/65/164451891_8aa3d78f88.jpg&amp;imgrefurl=http://www.flickr.com/photos/wallyg/164451891/&amp;usg=__IBcq0t-kNb-YCjudol_fCFpjmZY=&amp;h=500&amp;w=333&amp;sz=102&amp;hl=ko&amp;start=31&amp;um=1&amp;tbnid=YnjAXM_x3Tix7M:&amp;tbnh=130&amp;tbnw=87&amp;prev=/images?q=company+building&amp;ndsp=18&amp;hl=ko&amp;lr=&amp;sa=N&amp;start=18&amp;um=1" TargetMode="External"/><Relationship Id="rId10" Type="http://schemas.openxmlformats.org/officeDocument/2006/relationships/image" Target="../media/image20.jpeg"/><Relationship Id="rId19" Type="http://schemas.openxmlformats.org/officeDocument/2006/relationships/image" Target="../media/image26.jpeg"/><Relationship Id="rId4" Type="http://schemas.openxmlformats.org/officeDocument/2006/relationships/image" Target="../media/image17.jpeg"/><Relationship Id="rId9" Type="http://schemas.openxmlformats.org/officeDocument/2006/relationships/hyperlink" Target="http://images.google.com/imgres?imgurl=http://img.etnews.co.kr/photonews/0902/090204062044_482425627_b.jpg&amp;imgrefurl=http://www.etnews.co.kr/photonews/view.html?serial=56762&amp;usg=__VCivQoyCmOCm0xcUFx3cuyTF2Ow=&amp;h=280&amp;w=400&amp;sz=39&amp;hl=ko&amp;start=47&amp;um=1&amp;tbnid=Km4bxc4emK1mGM:&amp;tbnh=87&amp;tbnw=124&amp;prev=/images?q=IDC&amp;ndsp=18&amp;hl=ko&amp;lr=&amp;sa=N&amp;start=36&amp;um=1" TargetMode="External"/><Relationship Id="rId14" Type="http://schemas.openxmlformats.org/officeDocument/2006/relationships/image" Target="../media/image22.jpeg"/></Relationships>
</file>

<file path=ppt/slides/_rels/slide30.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58.xml"/><Relationship Id="rId7" Type="http://schemas.openxmlformats.org/officeDocument/2006/relationships/slideLayout" Target="../slideLayouts/slideLayout2.xml"/><Relationship Id="rId12" Type="http://schemas.openxmlformats.org/officeDocument/2006/relationships/image" Target="../media/image56.png"/><Relationship Id="rId2" Type="http://schemas.openxmlformats.org/officeDocument/2006/relationships/tags" Target="../tags/tag57.xml"/><Relationship Id="rId1" Type="http://schemas.openxmlformats.org/officeDocument/2006/relationships/vmlDrawing" Target="../drawings/vmlDrawing2.vml"/><Relationship Id="rId6" Type="http://schemas.openxmlformats.org/officeDocument/2006/relationships/tags" Target="../tags/tag61.xml"/><Relationship Id="rId11" Type="http://schemas.openxmlformats.org/officeDocument/2006/relationships/image" Target="../media/image55.png"/><Relationship Id="rId5" Type="http://schemas.openxmlformats.org/officeDocument/2006/relationships/tags" Target="../tags/tag60.xml"/><Relationship Id="rId10" Type="http://schemas.openxmlformats.org/officeDocument/2006/relationships/oleObject" Target="../embeddings/oleObject5.bin"/><Relationship Id="rId4" Type="http://schemas.openxmlformats.org/officeDocument/2006/relationships/tags" Target="../tags/tag59.xml"/><Relationship Id="rId9" Type="http://schemas.openxmlformats.org/officeDocument/2006/relationships/image" Target="../media/image54.png"/></Relationships>
</file>

<file path=ppt/slides/_rels/slide31.xml.rels><?xml version="1.0" encoding="UTF-8" standalone="yes"?>
<Relationships xmlns="http://schemas.openxmlformats.org/package/2006/relationships"><Relationship Id="rId8" Type="http://schemas.openxmlformats.org/officeDocument/2006/relationships/oleObject" Target="../embeddings/oleObject7.bin"/><Relationship Id="rId13" Type="http://schemas.openxmlformats.org/officeDocument/2006/relationships/image" Target="../media/image59.png"/><Relationship Id="rId3" Type="http://schemas.openxmlformats.org/officeDocument/2006/relationships/tags" Target="../tags/tag63.xml"/><Relationship Id="rId7" Type="http://schemas.openxmlformats.org/officeDocument/2006/relationships/oleObject" Target="../embeddings/oleObject6.bin"/><Relationship Id="rId12" Type="http://schemas.openxmlformats.org/officeDocument/2006/relationships/oleObject" Target="../embeddings/oleObject9.bin"/><Relationship Id="rId2" Type="http://schemas.openxmlformats.org/officeDocument/2006/relationships/tags" Target="../tags/tag62.xml"/><Relationship Id="rId1" Type="http://schemas.openxmlformats.org/officeDocument/2006/relationships/vmlDrawing" Target="../drawings/vmlDrawing3.vml"/><Relationship Id="rId6" Type="http://schemas.openxmlformats.org/officeDocument/2006/relationships/notesSlide" Target="../notesSlides/notesSlide17.xml"/><Relationship Id="rId11" Type="http://schemas.openxmlformats.org/officeDocument/2006/relationships/image" Target="../media/image58.png"/><Relationship Id="rId5" Type="http://schemas.openxmlformats.org/officeDocument/2006/relationships/slideLayout" Target="../slideLayouts/slideLayout2.xml"/><Relationship Id="rId10" Type="http://schemas.openxmlformats.org/officeDocument/2006/relationships/oleObject" Target="../embeddings/oleObject8.bin"/><Relationship Id="rId4" Type="http://schemas.openxmlformats.org/officeDocument/2006/relationships/tags" Target="../tags/tag64.xml"/><Relationship Id="rId9" Type="http://schemas.openxmlformats.org/officeDocument/2006/relationships/image" Target="../media/image57.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47" Type="http://schemas.openxmlformats.org/officeDocument/2006/relationships/tags" Target="../tags/tag49.xml"/><Relationship Id="rId50" Type="http://schemas.openxmlformats.org/officeDocument/2006/relationships/tags" Target="../tags/tag52.xml"/><Relationship Id="rId55" Type="http://schemas.openxmlformats.org/officeDocument/2006/relationships/slideLayout" Target="../slideLayouts/slideLayout2.xml"/><Relationship Id="rId63" Type="http://schemas.openxmlformats.org/officeDocument/2006/relationships/image" Target="../media/image33.emf"/><Relationship Id="rId68" Type="http://schemas.openxmlformats.org/officeDocument/2006/relationships/image" Target="../media/image39.png"/><Relationship Id="rId7" Type="http://schemas.openxmlformats.org/officeDocument/2006/relationships/tags" Target="../tags/tag9.xml"/><Relationship Id="rId71" Type="http://schemas.openxmlformats.org/officeDocument/2006/relationships/image" Target="../media/image42.png"/><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tags" Target="../tags/tag55.xml"/><Relationship Id="rId58" Type="http://schemas.openxmlformats.org/officeDocument/2006/relationships/image" Target="../media/image3.png"/><Relationship Id="rId66" Type="http://schemas.openxmlformats.org/officeDocument/2006/relationships/image" Target="../media/image38.png"/><Relationship Id="rId74" Type="http://schemas.openxmlformats.org/officeDocument/2006/relationships/oleObject" Target="../embeddings/oleObject4.bin"/><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image" Target="../media/image35.png"/><Relationship Id="rId61" Type="http://schemas.openxmlformats.org/officeDocument/2006/relationships/image" Target="../media/image36.wmf"/><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 Id="rId60" Type="http://schemas.openxmlformats.org/officeDocument/2006/relationships/image" Target="../media/image32.emf"/><Relationship Id="rId65" Type="http://schemas.openxmlformats.org/officeDocument/2006/relationships/image" Target="../media/image13.png"/><Relationship Id="rId73" Type="http://schemas.openxmlformats.org/officeDocument/2006/relationships/oleObject" Target="../embeddings/oleObject3.bin"/><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notesSlide" Target="../notesSlides/notesSlide6.xml"/><Relationship Id="rId64" Type="http://schemas.openxmlformats.org/officeDocument/2006/relationships/image" Target="../media/image37.png"/><Relationship Id="rId69" Type="http://schemas.openxmlformats.org/officeDocument/2006/relationships/image" Target="../media/image40.png"/><Relationship Id="rId8" Type="http://schemas.openxmlformats.org/officeDocument/2006/relationships/tags" Target="../tags/tag10.xml"/><Relationship Id="rId51" Type="http://schemas.openxmlformats.org/officeDocument/2006/relationships/tags" Target="../tags/tag53.xml"/><Relationship Id="rId72" Type="http://schemas.openxmlformats.org/officeDocument/2006/relationships/image" Target="../media/image43.png"/><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59" Type="http://schemas.openxmlformats.org/officeDocument/2006/relationships/oleObject" Target="../embeddings/oleObject1.bin"/><Relationship Id="rId67" Type="http://schemas.openxmlformats.org/officeDocument/2006/relationships/image" Target="../media/image14.png"/><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tags" Target="../tags/tag56.xml"/><Relationship Id="rId62" Type="http://schemas.openxmlformats.org/officeDocument/2006/relationships/oleObject" Target="../embeddings/oleObject2.bin"/><Relationship Id="rId70" Type="http://schemas.openxmlformats.org/officeDocument/2006/relationships/image" Target="../media/image41.png"/><Relationship Id="rId75" Type="http://schemas.openxmlformats.org/officeDocument/2006/relationships/image" Target="../media/image34.emf"/><Relationship Id="rId1" Type="http://schemas.openxmlformats.org/officeDocument/2006/relationships/vmlDrawing" Target="../drawings/vmlDrawing1.vml"/><Relationship Id="rId6"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标题 1"/>
          <p:cNvSpPr>
            <a:spLocks noGrp="1"/>
          </p:cNvSpPr>
          <p:nvPr>
            <p:ph type="title"/>
          </p:nvPr>
        </p:nvSpPr>
        <p:spPr>
          <a:xfrm>
            <a:off x="0" y="15875"/>
            <a:ext cx="8201025" cy="460375"/>
          </a:xfrm>
        </p:spPr>
        <p:txBody>
          <a:bodyPr/>
          <a:lstStyle/>
          <a:p>
            <a:r>
              <a:rPr lang="zh-CN" altLang="en-US" smtClean="0"/>
              <a:t>目录</a:t>
            </a:r>
          </a:p>
        </p:txBody>
      </p:sp>
      <p:sp>
        <p:nvSpPr>
          <p:cNvPr id="9219" name="内容占位符 2"/>
          <p:cNvSpPr>
            <a:spLocks noGrp="1"/>
          </p:cNvSpPr>
          <p:nvPr>
            <p:ph idx="1"/>
          </p:nvPr>
        </p:nvSpPr>
        <p:spPr>
          <a:xfrm>
            <a:off x="1692275" y="1989138"/>
            <a:ext cx="5410200" cy="2782887"/>
          </a:xfrm>
        </p:spPr>
        <p:txBody>
          <a:bodyPr/>
          <a:lstStyle/>
          <a:p>
            <a:pPr marL="342900" indent="-342900">
              <a:lnSpc>
                <a:spcPct val="115000"/>
              </a:lnSpc>
              <a:spcBef>
                <a:spcPct val="10000"/>
              </a:spcBef>
              <a:spcAft>
                <a:spcPct val="10000"/>
              </a:spcAft>
              <a:buFontTx/>
              <a:buBlip>
                <a:blip r:embed="rId2"/>
              </a:buBlip>
            </a:pPr>
            <a:r>
              <a:rPr lang="zh-CN" altLang="en-US" sz="2400" smtClean="0">
                <a:solidFill>
                  <a:srgbClr val="FF0000"/>
                </a:solidFill>
                <a:latin typeface="Cambria" pitchFamily="18" charset="0"/>
                <a:ea typeface="华文细黑" pitchFamily="2" charset="-122"/>
              </a:rPr>
              <a:t>云计算基本概念</a:t>
            </a:r>
            <a:endParaRPr lang="en-US" altLang="zh-CN" sz="2400" smtClean="0">
              <a:solidFill>
                <a:srgbClr val="FF0000"/>
              </a:solidFill>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市场及产业发展状况</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标准建设</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关键技术</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在运营商应用现状介绍</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标题 1"/>
          <p:cNvSpPr>
            <a:spLocks noGrp="1"/>
          </p:cNvSpPr>
          <p:nvPr>
            <p:ph type="title"/>
          </p:nvPr>
        </p:nvSpPr>
        <p:spPr>
          <a:xfrm>
            <a:off x="0" y="15875"/>
            <a:ext cx="8201025" cy="460375"/>
          </a:xfrm>
        </p:spPr>
        <p:txBody>
          <a:bodyPr/>
          <a:lstStyle/>
          <a:p>
            <a:r>
              <a:rPr lang="zh-CN" altLang="en-US" smtClean="0"/>
              <a:t>云计算发展环境</a:t>
            </a:r>
          </a:p>
        </p:txBody>
      </p:sp>
      <p:sp>
        <p:nvSpPr>
          <p:cNvPr id="18435" name="AutoShape 3"/>
          <p:cNvSpPr>
            <a:spLocks noChangeArrowheads="1"/>
          </p:cNvSpPr>
          <p:nvPr/>
        </p:nvSpPr>
        <p:spPr bwMode="gray">
          <a:xfrm>
            <a:off x="457200" y="3886200"/>
            <a:ext cx="2543175" cy="1600200"/>
          </a:xfrm>
          <a:prstGeom prst="roundRect">
            <a:avLst>
              <a:gd name="adj" fmla="val 12699"/>
            </a:avLst>
          </a:prstGeom>
          <a:solidFill>
            <a:schemeClr val="accent2"/>
          </a:solidFill>
          <a:ln w="9525" algn="ctr">
            <a:solidFill>
              <a:schemeClr val="folHlink"/>
            </a:solidFill>
            <a:round/>
            <a:headEnd/>
            <a:tailEnd/>
          </a:ln>
        </p:spPr>
        <p:txBody>
          <a:bodyPr wrap="none" anchor="ctr"/>
          <a:lstStyle/>
          <a:p>
            <a:pPr algn="r"/>
            <a:endParaRPr lang="zh-CN" altLang="en-US">
              <a:ea typeface="宋体" pitchFamily="2" charset="-122"/>
            </a:endParaRPr>
          </a:p>
        </p:txBody>
      </p:sp>
      <p:sp>
        <p:nvSpPr>
          <p:cNvPr id="18436" name="Text Box 4"/>
          <p:cNvSpPr txBox="1">
            <a:spLocks noChangeArrowheads="1"/>
          </p:cNvSpPr>
          <p:nvPr/>
        </p:nvSpPr>
        <p:spPr bwMode="gray">
          <a:xfrm>
            <a:off x="3584575" y="3257550"/>
            <a:ext cx="1905000"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spcBef>
                <a:spcPct val="50000"/>
              </a:spcBef>
            </a:pPr>
            <a:r>
              <a:rPr lang="zh-CN" altLang="en-US" sz="3200">
                <a:solidFill>
                  <a:schemeClr val="accent2"/>
                </a:solidFill>
                <a:latin typeface="Arial" pitchFamily="34" charset="0"/>
                <a:ea typeface="宋体" pitchFamily="2" charset="-122"/>
                <a:cs typeface="Arial" pitchFamily="34" charset="0"/>
              </a:rPr>
              <a:t> 云计算</a:t>
            </a:r>
          </a:p>
        </p:txBody>
      </p:sp>
      <p:sp>
        <p:nvSpPr>
          <p:cNvPr id="18437" name="Text Box 18"/>
          <p:cNvSpPr txBox="1">
            <a:spLocks noChangeArrowheads="1"/>
          </p:cNvSpPr>
          <p:nvPr/>
        </p:nvSpPr>
        <p:spPr bwMode="white">
          <a:xfrm>
            <a:off x="838200" y="4495800"/>
            <a:ext cx="1651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spcBef>
                <a:spcPct val="50000"/>
              </a:spcBef>
            </a:pPr>
            <a:r>
              <a:rPr lang="zh-CN" altLang="en-US" sz="2000">
                <a:latin typeface="Arial" pitchFamily="34" charset="0"/>
                <a:ea typeface="宋体" pitchFamily="2" charset="-122"/>
                <a:cs typeface="Arial" pitchFamily="34" charset="0"/>
              </a:rPr>
              <a:t>物联网</a:t>
            </a:r>
            <a:r>
              <a:rPr lang="zh-CN" altLang="en-US" sz="2400" i="1">
                <a:latin typeface="Arial" pitchFamily="34" charset="0"/>
                <a:ea typeface="宋体" pitchFamily="2" charset="-122"/>
                <a:cs typeface="Arial" pitchFamily="34" charset="0"/>
              </a:rPr>
              <a:t> </a:t>
            </a:r>
            <a:endParaRPr lang="en-US" altLang="zh-CN" sz="2400" i="1">
              <a:latin typeface="Arial" pitchFamily="34" charset="0"/>
              <a:ea typeface="宋体" pitchFamily="2" charset="-122"/>
              <a:cs typeface="Arial" pitchFamily="34" charset="0"/>
            </a:endParaRPr>
          </a:p>
        </p:txBody>
      </p:sp>
      <p:sp>
        <p:nvSpPr>
          <p:cNvPr id="18438" name="AutoShape 8"/>
          <p:cNvSpPr>
            <a:spLocks noChangeArrowheads="1"/>
          </p:cNvSpPr>
          <p:nvPr/>
        </p:nvSpPr>
        <p:spPr bwMode="gray">
          <a:xfrm>
            <a:off x="457200" y="1524000"/>
            <a:ext cx="2543175" cy="1600200"/>
          </a:xfrm>
          <a:prstGeom prst="roundRect">
            <a:avLst>
              <a:gd name="adj" fmla="val 12699"/>
            </a:avLst>
          </a:prstGeom>
          <a:solidFill>
            <a:schemeClr val="bg2"/>
          </a:solidFill>
          <a:ln w="9525" algn="ctr">
            <a:solidFill>
              <a:schemeClr val="bg2"/>
            </a:solidFill>
            <a:round/>
            <a:headEnd/>
            <a:tailEnd/>
          </a:ln>
        </p:spPr>
        <p:txBody>
          <a:bodyPr wrap="none" anchor="ctr"/>
          <a:lstStyle/>
          <a:p>
            <a:pPr algn="r"/>
            <a:endParaRPr lang="zh-CN" altLang="en-US">
              <a:solidFill>
                <a:schemeClr val="bg2"/>
              </a:solidFill>
              <a:ea typeface="宋体" pitchFamily="2" charset="-122"/>
            </a:endParaRPr>
          </a:p>
        </p:txBody>
      </p:sp>
      <p:sp>
        <p:nvSpPr>
          <p:cNvPr id="18439" name="Text Box 18"/>
          <p:cNvSpPr txBox="1">
            <a:spLocks noChangeArrowheads="1"/>
          </p:cNvSpPr>
          <p:nvPr/>
        </p:nvSpPr>
        <p:spPr bwMode="white">
          <a:xfrm>
            <a:off x="838200" y="2057400"/>
            <a:ext cx="16510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spcBef>
                <a:spcPct val="50000"/>
              </a:spcBef>
            </a:pPr>
            <a:r>
              <a:rPr lang="en-US" altLang="zh-CN" sz="2000">
                <a:latin typeface="Arial" pitchFamily="34" charset="0"/>
                <a:ea typeface="宋体" pitchFamily="2" charset="-122"/>
                <a:cs typeface="Arial" pitchFamily="34" charset="0"/>
              </a:rPr>
              <a:t>3G</a:t>
            </a:r>
            <a:r>
              <a:rPr lang="en-US" altLang="zh-CN" sz="2000" i="1">
                <a:latin typeface="Arial" pitchFamily="34" charset="0"/>
                <a:ea typeface="宋体" pitchFamily="2" charset="-122"/>
                <a:cs typeface="Arial" pitchFamily="34" charset="0"/>
              </a:rPr>
              <a:t> </a:t>
            </a:r>
          </a:p>
        </p:txBody>
      </p:sp>
      <p:sp>
        <p:nvSpPr>
          <p:cNvPr id="18440" name="AutoShape 12"/>
          <p:cNvSpPr>
            <a:spLocks noChangeArrowheads="1"/>
          </p:cNvSpPr>
          <p:nvPr/>
        </p:nvSpPr>
        <p:spPr bwMode="gray">
          <a:xfrm>
            <a:off x="6067425" y="3886200"/>
            <a:ext cx="2543175" cy="1600200"/>
          </a:xfrm>
          <a:prstGeom prst="roundRect">
            <a:avLst>
              <a:gd name="adj" fmla="val 12699"/>
            </a:avLst>
          </a:prstGeom>
          <a:solidFill>
            <a:srgbClr val="8CEB4B"/>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r"/>
            <a:endParaRPr lang="zh-CN" altLang="en-US">
              <a:ea typeface="宋体" pitchFamily="2" charset="-122"/>
            </a:endParaRPr>
          </a:p>
        </p:txBody>
      </p:sp>
      <p:sp>
        <p:nvSpPr>
          <p:cNvPr id="18441" name="Text Box 18"/>
          <p:cNvSpPr txBox="1">
            <a:spLocks noChangeArrowheads="1"/>
          </p:cNvSpPr>
          <p:nvPr/>
        </p:nvSpPr>
        <p:spPr bwMode="white">
          <a:xfrm>
            <a:off x="6553200" y="4419600"/>
            <a:ext cx="16510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spcBef>
                <a:spcPct val="50000"/>
              </a:spcBef>
            </a:pPr>
            <a:r>
              <a:rPr lang="zh-CN" altLang="en-US" sz="2000">
                <a:latin typeface="Arial" pitchFamily="34" charset="0"/>
                <a:ea typeface="宋体" pitchFamily="2" charset="-122"/>
                <a:cs typeface="Arial" pitchFamily="34" charset="0"/>
              </a:rPr>
              <a:t>三网融合</a:t>
            </a:r>
            <a:r>
              <a:rPr lang="zh-CN" altLang="en-US" i="1">
                <a:latin typeface="Arial" pitchFamily="34" charset="0"/>
                <a:ea typeface="宋体" pitchFamily="2" charset="-122"/>
                <a:cs typeface="Arial" pitchFamily="34" charset="0"/>
              </a:rPr>
              <a:t> </a:t>
            </a:r>
            <a:endParaRPr lang="en-US" altLang="zh-CN" i="1">
              <a:latin typeface="Arial" pitchFamily="34" charset="0"/>
              <a:ea typeface="宋体" pitchFamily="2" charset="-122"/>
              <a:cs typeface="Arial" pitchFamily="34" charset="0"/>
            </a:endParaRPr>
          </a:p>
        </p:txBody>
      </p:sp>
      <p:sp>
        <p:nvSpPr>
          <p:cNvPr id="18442" name="AutoShape 16"/>
          <p:cNvSpPr>
            <a:spLocks noChangeArrowheads="1"/>
          </p:cNvSpPr>
          <p:nvPr/>
        </p:nvSpPr>
        <p:spPr bwMode="gray">
          <a:xfrm>
            <a:off x="6067425" y="1524000"/>
            <a:ext cx="2543175" cy="1600200"/>
          </a:xfrm>
          <a:prstGeom prst="roundRect">
            <a:avLst>
              <a:gd name="adj" fmla="val 12699"/>
            </a:avLst>
          </a:prstGeom>
          <a:solidFill>
            <a:srgbClr val="FD4C39"/>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algn="r"/>
            <a:endParaRPr lang="zh-CN" altLang="en-US">
              <a:ea typeface="宋体" pitchFamily="2" charset="-122"/>
            </a:endParaRPr>
          </a:p>
        </p:txBody>
      </p:sp>
      <p:sp>
        <p:nvSpPr>
          <p:cNvPr id="18443" name="Text Box 18"/>
          <p:cNvSpPr txBox="1">
            <a:spLocks noChangeArrowheads="1"/>
          </p:cNvSpPr>
          <p:nvPr/>
        </p:nvSpPr>
        <p:spPr bwMode="white">
          <a:xfrm>
            <a:off x="6477000" y="1981200"/>
            <a:ext cx="1651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spcBef>
                <a:spcPct val="50000"/>
              </a:spcBef>
            </a:pPr>
            <a:r>
              <a:rPr lang="zh-CN" altLang="en-US" sz="2000">
                <a:latin typeface="Arial" pitchFamily="34" charset="0"/>
                <a:ea typeface="宋体" pitchFamily="2" charset="-122"/>
                <a:cs typeface="Arial" pitchFamily="34" charset="0"/>
              </a:rPr>
              <a:t>移动互联网</a:t>
            </a:r>
            <a:r>
              <a:rPr lang="zh-CN" altLang="en-US" sz="2400" i="1">
                <a:latin typeface="Arial" pitchFamily="34" charset="0"/>
                <a:ea typeface="宋体" pitchFamily="2" charset="-122"/>
                <a:cs typeface="Arial" pitchFamily="34" charset="0"/>
              </a:rPr>
              <a:t> </a:t>
            </a:r>
            <a:endParaRPr lang="en-US" altLang="zh-CN" sz="2400" i="1">
              <a:latin typeface="Arial" pitchFamily="34" charset="0"/>
              <a:ea typeface="宋体" pitchFamily="2" charset="-122"/>
              <a:cs typeface="Arial" pitchFamily="34" charset="0"/>
            </a:endParaRPr>
          </a:p>
        </p:txBody>
      </p:sp>
      <p:grpSp>
        <p:nvGrpSpPr>
          <p:cNvPr id="18444" name="Group 20"/>
          <p:cNvGrpSpPr>
            <a:grpSpLocks/>
          </p:cNvGrpSpPr>
          <p:nvPr/>
        </p:nvGrpSpPr>
        <p:grpSpPr bwMode="auto">
          <a:xfrm>
            <a:off x="3095625" y="2133600"/>
            <a:ext cx="2819400" cy="2803525"/>
            <a:chOff x="1968" y="1488"/>
            <a:chExt cx="1776" cy="1766"/>
          </a:xfrm>
        </p:grpSpPr>
        <p:sp>
          <p:nvSpPr>
            <p:cNvPr id="14" name="AutoShape 21"/>
            <p:cNvSpPr>
              <a:spLocks noChangeArrowheads="1"/>
            </p:cNvSpPr>
            <p:nvPr/>
          </p:nvSpPr>
          <p:spPr bwMode="gray">
            <a:xfrm rot="6774404">
              <a:off x="2004" y="1578"/>
              <a:ext cx="1688" cy="1664"/>
            </a:xfrm>
            <a:custGeom>
              <a:avLst/>
              <a:gdLst>
                <a:gd name="G0" fmla="+- -1509893 0 0"/>
                <a:gd name="G1" fmla="+- -5955455 0 0"/>
                <a:gd name="G2" fmla="+- -1509893 0 -5955455"/>
                <a:gd name="G3" fmla="+- 10800 0 0"/>
                <a:gd name="G4" fmla="+- 0 0 -1509893"/>
                <a:gd name="T0" fmla="*/ 360 256 1"/>
                <a:gd name="T1" fmla="*/ 0 256 1"/>
                <a:gd name="G5" fmla="+- G2 T0 T1"/>
                <a:gd name="G6" fmla="?: G2 G2 G5"/>
                <a:gd name="G7" fmla="+- 0 0 G6"/>
                <a:gd name="G8" fmla="+- 7926 0 0"/>
                <a:gd name="G9" fmla="+- 0 0 -5955455"/>
                <a:gd name="G10" fmla="+- 7926 0 2700"/>
                <a:gd name="G11" fmla="cos G10 -1509893"/>
                <a:gd name="G12" fmla="sin G10 -1509893"/>
                <a:gd name="G13" fmla="cos 13500 -1509893"/>
                <a:gd name="G14" fmla="sin 13500 -1509893"/>
                <a:gd name="G15" fmla="+- G11 10800 0"/>
                <a:gd name="G16" fmla="+- G12 10800 0"/>
                <a:gd name="G17" fmla="+- G13 10800 0"/>
                <a:gd name="G18" fmla="+- G14 10800 0"/>
                <a:gd name="G19" fmla="*/ 7926 1 2"/>
                <a:gd name="G20" fmla="+- G19 5400 0"/>
                <a:gd name="G21" fmla="cos G20 -1509893"/>
                <a:gd name="G22" fmla="sin G20 -1509893"/>
                <a:gd name="G23" fmla="+- G21 10800 0"/>
                <a:gd name="G24" fmla="+- G12 G23 G22"/>
                <a:gd name="G25" fmla="+- G22 G23 G11"/>
                <a:gd name="G26" fmla="cos 10800 -1509893"/>
                <a:gd name="G27" fmla="sin 10800 -1509893"/>
                <a:gd name="G28" fmla="cos 7926 -1509893"/>
                <a:gd name="G29" fmla="sin 7926 -1509893"/>
                <a:gd name="G30" fmla="+- G26 10800 0"/>
                <a:gd name="G31" fmla="+- G27 10800 0"/>
                <a:gd name="G32" fmla="+- G28 10800 0"/>
                <a:gd name="G33" fmla="+- G29 10800 0"/>
                <a:gd name="G34" fmla="+- G19 5400 0"/>
                <a:gd name="G35" fmla="cos G34 -5955455"/>
                <a:gd name="G36" fmla="sin G34 -5955455"/>
                <a:gd name="G37" fmla="+/ -5955455 -1509893 2"/>
                <a:gd name="T2" fmla="*/ 180 256 1"/>
                <a:gd name="T3" fmla="*/ 0 256 1"/>
                <a:gd name="G38" fmla="+- G37 T2 T3"/>
                <a:gd name="G39" fmla="?: G2 G37 G38"/>
                <a:gd name="G40" fmla="cos 10800 G39"/>
                <a:gd name="G41" fmla="sin 10800 G39"/>
                <a:gd name="G42" fmla="cos 7926 G39"/>
                <a:gd name="G43" fmla="sin 7926 G39"/>
                <a:gd name="G44" fmla="+- G40 10800 0"/>
                <a:gd name="G45" fmla="+- G41 10800 0"/>
                <a:gd name="G46" fmla="+- G42 10800 0"/>
                <a:gd name="G47" fmla="+- G43 10800 0"/>
                <a:gd name="G48" fmla="+- G35 10800 0"/>
                <a:gd name="G49" fmla="+- G36 10800 0"/>
                <a:gd name="T4" fmla="*/ 16689 w 21600"/>
                <a:gd name="T5" fmla="*/ 1746 h 21600"/>
                <a:gd name="T6" fmla="*/ 10657 w 21600"/>
                <a:gd name="T7" fmla="*/ 1438 h 21600"/>
                <a:gd name="T8" fmla="*/ 15121 w 21600"/>
                <a:gd name="T9" fmla="*/ 4156 h 21600"/>
                <a:gd name="T10" fmla="*/ 23223 w 21600"/>
                <a:gd name="T11" fmla="*/ 5516 h 21600"/>
                <a:gd name="T12" fmla="*/ 21035 w 21600"/>
                <a:gd name="T13" fmla="*/ 10942 h 21600"/>
                <a:gd name="T14" fmla="*/ 15609 w 21600"/>
                <a:gd name="T15" fmla="*/ 8754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8093" y="7698"/>
                  </a:moveTo>
                  <a:cubicBezTo>
                    <a:pt x="16849" y="4772"/>
                    <a:pt x="13978" y="2874"/>
                    <a:pt x="10800" y="2874"/>
                  </a:cubicBezTo>
                  <a:cubicBezTo>
                    <a:pt x="10759" y="2873"/>
                    <a:pt x="10719" y="2874"/>
                    <a:pt x="10679" y="2874"/>
                  </a:cubicBezTo>
                  <a:lnTo>
                    <a:pt x="10635" y="1"/>
                  </a:lnTo>
                  <a:cubicBezTo>
                    <a:pt x="10690" y="0"/>
                    <a:pt x="10745" y="-1"/>
                    <a:pt x="10800" y="0"/>
                  </a:cubicBezTo>
                  <a:cubicBezTo>
                    <a:pt x="15131" y="0"/>
                    <a:pt x="19043" y="2587"/>
                    <a:pt x="20738" y="6573"/>
                  </a:cubicBezTo>
                  <a:lnTo>
                    <a:pt x="23223" y="5516"/>
                  </a:lnTo>
                  <a:lnTo>
                    <a:pt x="21035" y="10942"/>
                  </a:lnTo>
                  <a:lnTo>
                    <a:pt x="15609" y="8754"/>
                  </a:lnTo>
                  <a:lnTo>
                    <a:pt x="18093" y="7698"/>
                  </a:lnTo>
                  <a:close/>
                </a:path>
              </a:pathLst>
            </a:custGeom>
            <a:gradFill rotWithShape="1">
              <a:gsLst>
                <a:gs pos="0">
                  <a:schemeClr val="hlink">
                    <a:gamma/>
                    <a:shade val="0"/>
                    <a:invGamma/>
                  </a:schemeClr>
                </a:gs>
                <a:gs pos="100000">
                  <a:schemeClr val="hlink"/>
                </a:gs>
              </a:gsLst>
              <a:lin ang="2700000" scaled="1"/>
            </a:gradFill>
            <a:ln w="9525">
              <a:noFill/>
              <a:miter lim="800000"/>
              <a:headEnd/>
              <a:tailEnd/>
            </a:ln>
            <a:effectLst/>
            <a:scene3d>
              <a:camera prst="legacyObliqueTopRight"/>
              <a:lightRig rig="legacyFlat3" dir="b"/>
            </a:scene3d>
            <a:sp3d extrusionH="176200" prstMaterial="legacyMatte">
              <a:bevelT w="13500" h="13500" prst="angle"/>
              <a:bevelB w="13500" h="13500" prst="angle"/>
              <a:extrusionClr>
                <a:schemeClr val="hlink"/>
              </a:extrusionClr>
            </a:sp3d>
          </p:spPr>
          <p:txBody>
            <a:bodyPr wrap="none" anchor="ctr">
              <a:flatTx/>
            </a:bodyPr>
            <a:lstStyle/>
            <a:p>
              <a:pPr algn="r">
                <a:defRPr/>
              </a:pPr>
              <a:endParaRPr lang="zh-CN" altLang="en-US">
                <a:ea typeface="宋体" pitchFamily="2" charset="-122"/>
              </a:endParaRPr>
            </a:p>
          </p:txBody>
        </p:sp>
        <p:sp>
          <p:nvSpPr>
            <p:cNvPr id="15" name="AutoShape 22"/>
            <p:cNvSpPr>
              <a:spLocks noChangeArrowheads="1"/>
            </p:cNvSpPr>
            <p:nvPr/>
          </p:nvSpPr>
          <p:spPr bwMode="gray">
            <a:xfrm rot="12174404">
              <a:off x="1968" y="1567"/>
              <a:ext cx="1688" cy="1664"/>
            </a:xfrm>
            <a:custGeom>
              <a:avLst/>
              <a:gdLst>
                <a:gd name="G0" fmla="+- -1509893 0 0"/>
                <a:gd name="G1" fmla="+- -5955455 0 0"/>
                <a:gd name="G2" fmla="+- -1509893 0 -5955455"/>
                <a:gd name="G3" fmla="+- 10800 0 0"/>
                <a:gd name="G4" fmla="+- 0 0 -1509893"/>
                <a:gd name="T0" fmla="*/ 360 256 1"/>
                <a:gd name="T1" fmla="*/ 0 256 1"/>
                <a:gd name="G5" fmla="+- G2 T0 T1"/>
                <a:gd name="G6" fmla="?: G2 G2 G5"/>
                <a:gd name="G7" fmla="+- 0 0 G6"/>
                <a:gd name="G8" fmla="+- 7926 0 0"/>
                <a:gd name="G9" fmla="+- 0 0 -5955455"/>
                <a:gd name="G10" fmla="+- 7926 0 2700"/>
                <a:gd name="G11" fmla="cos G10 -1509893"/>
                <a:gd name="G12" fmla="sin G10 -1509893"/>
                <a:gd name="G13" fmla="cos 13500 -1509893"/>
                <a:gd name="G14" fmla="sin 13500 -1509893"/>
                <a:gd name="G15" fmla="+- G11 10800 0"/>
                <a:gd name="G16" fmla="+- G12 10800 0"/>
                <a:gd name="G17" fmla="+- G13 10800 0"/>
                <a:gd name="G18" fmla="+- G14 10800 0"/>
                <a:gd name="G19" fmla="*/ 7926 1 2"/>
                <a:gd name="G20" fmla="+- G19 5400 0"/>
                <a:gd name="G21" fmla="cos G20 -1509893"/>
                <a:gd name="G22" fmla="sin G20 -1509893"/>
                <a:gd name="G23" fmla="+- G21 10800 0"/>
                <a:gd name="G24" fmla="+- G12 G23 G22"/>
                <a:gd name="G25" fmla="+- G22 G23 G11"/>
                <a:gd name="G26" fmla="cos 10800 -1509893"/>
                <a:gd name="G27" fmla="sin 10800 -1509893"/>
                <a:gd name="G28" fmla="cos 7926 -1509893"/>
                <a:gd name="G29" fmla="sin 7926 -1509893"/>
                <a:gd name="G30" fmla="+- G26 10800 0"/>
                <a:gd name="G31" fmla="+- G27 10800 0"/>
                <a:gd name="G32" fmla="+- G28 10800 0"/>
                <a:gd name="G33" fmla="+- G29 10800 0"/>
                <a:gd name="G34" fmla="+- G19 5400 0"/>
                <a:gd name="G35" fmla="cos G34 -5955455"/>
                <a:gd name="G36" fmla="sin G34 -5955455"/>
                <a:gd name="G37" fmla="+/ -5955455 -1509893 2"/>
                <a:gd name="T2" fmla="*/ 180 256 1"/>
                <a:gd name="T3" fmla="*/ 0 256 1"/>
                <a:gd name="G38" fmla="+- G37 T2 T3"/>
                <a:gd name="G39" fmla="?: G2 G37 G38"/>
                <a:gd name="G40" fmla="cos 10800 G39"/>
                <a:gd name="G41" fmla="sin 10800 G39"/>
                <a:gd name="G42" fmla="cos 7926 G39"/>
                <a:gd name="G43" fmla="sin 7926 G39"/>
                <a:gd name="G44" fmla="+- G40 10800 0"/>
                <a:gd name="G45" fmla="+- G41 10800 0"/>
                <a:gd name="G46" fmla="+- G42 10800 0"/>
                <a:gd name="G47" fmla="+- G43 10800 0"/>
                <a:gd name="G48" fmla="+- G35 10800 0"/>
                <a:gd name="G49" fmla="+- G36 10800 0"/>
                <a:gd name="T4" fmla="*/ 16689 w 21600"/>
                <a:gd name="T5" fmla="*/ 1746 h 21600"/>
                <a:gd name="T6" fmla="*/ 10657 w 21600"/>
                <a:gd name="T7" fmla="*/ 1438 h 21600"/>
                <a:gd name="T8" fmla="*/ 15121 w 21600"/>
                <a:gd name="T9" fmla="*/ 4156 h 21600"/>
                <a:gd name="T10" fmla="*/ 23223 w 21600"/>
                <a:gd name="T11" fmla="*/ 5516 h 21600"/>
                <a:gd name="T12" fmla="*/ 21035 w 21600"/>
                <a:gd name="T13" fmla="*/ 10942 h 21600"/>
                <a:gd name="T14" fmla="*/ 15609 w 21600"/>
                <a:gd name="T15" fmla="*/ 8754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8093" y="7698"/>
                  </a:moveTo>
                  <a:cubicBezTo>
                    <a:pt x="16849" y="4772"/>
                    <a:pt x="13978" y="2874"/>
                    <a:pt x="10800" y="2874"/>
                  </a:cubicBezTo>
                  <a:cubicBezTo>
                    <a:pt x="10759" y="2873"/>
                    <a:pt x="10719" y="2874"/>
                    <a:pt x="10679" y="2874"/>
                  </a:cubicBezTo>
                  <a:lnTo>
                    <a:pt x="10635" y="1"/>
                  </a:lnTo>
                  <a:cubicBezTo>
                    <a:pt x="10690" y="0"/>
                    <a:pt x="10745" y="-1"/>
                    <a:pt x="10800" y="0"/>
                  </a:cubicBezTo>
                  <a:cubicBezTo>
                    <a:pt x="15131" y="0"/>
                    <a:pt x="19043" y="2587"/>
                    <a:pt x="20738" y="6573"/>
                  </a:cubicBezTo>
                  <a:lnTo>
                    <a:pt x="23223" y="5516"/>
                  </a:lnTo>
                  <a:lnTo>
                    <a:pt x="21035" y="10942"/>
                  </a:lnTo>
                  <a:lnTo>
                    <a:pt x="15609" y="8754"/>
                  </a:lnTo>
                  <a:lnTo>
                    <a:pt x="18093" y="7698"/>
                  </a:lnTo>
                  <a:close/>
                </a:path>
              </a:pathLst>
            </a:custGeom>
            <a:gradFill rotWithShape="1">
              <a:gsLst>
                <a:gs pos="0">
                  <a:schemeClr val="accent1">
                    <a:gamma/>
                    <a:shade val="0"/>
                    <a:invGamma/>
                  </a:schemeClr>
                </a:gs>
                <a:gs pos="100000">
                  <a:schemeClr val="accent1"/>
                </a:gs>
              </a:gsLst>
              <a:lin ang="2700000" scaled="1"/>
            </a:gradFill>
            <a:ln w="9525">
              <a:noFill/>
              <a:miter lim="800000"/>
              <a:headEnd/>
              <a:tailEnd/>
            </a:ln>
            <a:effectLst/>
            <a:scene3d>
              <a:camera prst="legacyObliqueTopRight"/>
              <a:lightRig rig="legacyFlat3" dir="b"/>
            </a:scene3d>
            <a:sp3d extrusionH="176200" prstMaterial="legacyMatte">
              <a:bevelT w="13500" h="13500" prst="angle"/>
              <a:bevelB w="13500" h="13500" prst="angle"/>
              <a:extrusionClr>
                <a:schemeClr val="accent1"/>
              </a:extrusionClr>
            </a:sp3d>
          </p:spPr>
          <p:txBody>
            <a:bodyPr wrap="none" anchor="ctr">
              <a:flatTx/>
            </a:bodyPr>
            <a:lstStyle/>
            <a:p>
              <a:pPr algn="r">
                <a:defRPr/>
              </a:pPr>
              <a:endParaRPr lang="zh-CN" altLang="en-US">
                <a:ea typeface="宋体" pitchFamily="2" charset="-122"/>
              </a:endParaRPr>
            </a:p>
          </p:txBody>
        </p:sp>
        <p:sp>
          <p:nvSpPr>
            <p:cNvPr id="16" name="AutoShape 23"/>
            <p:cNvSpPr>
              <a:spLocks noChangeArrowheads="1"/>
            </p:cNvSpPr>
            <p:nvPr/>
          </p:nvSpPr>
          <p:spPr bwMode="gray">
            <a:xfrm rot="17574404">
              <a:off x="2029" y="1500"/>
              <a:ext cx="1688" cy="1664"/>
            </a:xfrm>
            <a:custGeom>
              <a:avLst/>
              <a:gdLst>
                <a:gd name="G0" fmla="+- -1509893 0 0"/>
                <a:gd name="G1" fmla="+- -5955455 0 0"/>
                <a:gd name="G2" fmla="+- -1509893 0 -5955455"/>
                <a:gd name="G3" fmla="+- 10800 0 0"/>
                <a:gd name="G4" fmla="+- 0 0 -1509893"/>
                <a:gd name="T0" fmla="*/ 360 256 1"/>
                <a:gd name="T1" fmla="*/ 0 256 1"/>
                <a:gd name="G5" fmla="+- G2 T0 T1"/>
                <a:gd name="G6" fmla="?: G2 G2 G5"/>
                <a:gd name="G7" fmla="+- 0 0 G6"/>
                <a:gd name="G8" fmla="+- 7926 0 0"/>
                <a:gd name="G9" fmla="+- 0 0 -5955455"/>
                <a:gd name="G10" fmla="+- 7926 0 2700"/>
                <a:gd name="G11" fmla="cos G10 -1509893"/>
                <a:gd name="G12" fmla="sin G10 -1509893"/>
                <a:gd name="G13" fmla="cos 13500 -1509893"/>
                <a:gd name="G14" fmla="sin 13500 -1509893"/>
                <a:gd name="G15" fmla="+- G11 10800 0"/>
                <a:gd name="G16" fmla="+- G12 10800 0"/>
                <a:gd name="G17" fmla="+- G13 10800 0"/>
                <a:gd name="G18" fmla="+- G14 10800 0"/>
                <a:gd name="G19" fmla="*/ 7926 1 2"/>
                <a:gd name="G20" fmla="+- G19 5400 0"/>
                <a:gd name="G21" fmla="cos G20 -1509893"/>
                <a:gd name="G22" fmla="sin G20 -1509893"/>
                <a:gd name="G23" fmla="+- G21 10800 0"/>
                <a:gd name="G24" fmla="+- G12 G23 G22"/>
                <a:gd name="G25" fmla="+- G22 G23 G11"/>
                <a:gd name="G26" fmla="cos 10800 -1509893"/>
                <a:gd name="G27" fmla="sin 10800 -1509893"/>
                <a:gd name="G28" fmla="cos 7926 -1509893"/>
                <a:gd name="G29" fmla="sin 7926 -1509893"/>
                <a:gd name="G30" fmla="+- G26 10800 0"/>
                <a:gd name="G31" fmla="+- G27 10800 0"/>
                <a:gd name="G32" fmla="+- G28 10800 0"/>
                <a:gd name="G33" fmla="+- G29 10800 0"/>
                <a:gd name="G34" fmla="+- G19 5400 0"/>
                <a:gd name="G35" fmla="cos G34 -5955455"/>
                <a:gd name="G36" fmla="sin G34 -5955455"/>
                <a:gd name="G37" fmla="+/ -5955455 -1509893 2"/>
                <a:gd name="T2" fmla="*/ 180 256 1"/>
                <a:gd name="T3" fmla="*/ 0 256 1"/>
                <a:gd name="G38" fmla="+- G37 T2 T3"/>
                <a:gd name="G39" fmla="?: G2 G37 G38"/>
                <a:gd name="G40" fmla="cos 10800 G39"/>
                <a:gd name="G41" fmla="sin 10800 G39"/>
                <a:gd name="G42" fmla="cos 7926 G39"/>
                <a:gd name="G43" fmla="sin 7926 G39"/>
                <a:gd name="G44" fmla="+- G40 10800 0"/>
                <a:gd name="G45" fmla="+- G41 10800 0"/>
                <a:gd name="G46" fmla="+- G42 10800 0"/>
                <a:gd name="G47" fmla="+- G43 10800 0"/>
                <a:gd name="G48" fmla="+- G35 10800 0"/>
                <a:gd name="G49" fmla="+- G36 10800 0"/>
                <a:gd name="T4" fmla="*/ 16689 w 21600"/>
                <a:gd name="T5" fmla="*/ 1746 h 21600"/>
                <a:gd name="T6" fmla="*/ 10657 w 21600"/>
                <a:gd name="T7" fmla="*/ 1438 h 21600"/>
                <a:gd name="T8" fmla="*/ 15121 w 21600"/>
                <a:gd name="T9" fmla="*/ 4156 h 21600"/>
                <a:gd name="T10" fmla="*/ 23223 w 21600"/>
                <a:gd name="T11" fmla="*/ 5516 h 21600"/>
                <a:gd name="T12" fmla="*/ 21035 w 21600"/>
                <a:gd name="T13" fmla="*/ 10942 h 21600"/>
                <a:gd name="T14" fmla="*/ 15609 w 21600"/>
                <a:gd name="T15" fmla="*/ 8754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8093" y="7698"/>
                  </a:moveTo>
                  <a:cubicBezTo>
                    <a:pt x="16849" y="4772"/>
                    <a:pt x="13978" y="2874"/>
                    <a:pt x="10800" y="2874"/>
                  </a:cubicBezTo>
                  <a:cubicBezTo>
                    <a:pt x="10759" y="2873"/>
                    <a:pt x="10719" y="2874"/>
                    <a:pt x="10679" y="2874"/>
                  </a:cubicBezTo>
                  <a:lnTo>
                    <a:pt x="10635" y="1"/>
                  </a:lnTo>
                  <a:cubicBezTo>
                    <a:pt x="10690" y="0"/>
                    <a:pt x="10745" y="-1"/>
                    <a:pt x="10800" y="0"/>
                  </a:cubicBezTo>
                  <a:cubicBezTo>
                    <a:pt x="15131" y="0"/>
                    <a:pt x="19043" y="2587"/>
                    <a:pt x="20738" y="6573"/>
                  </a:cubicBezTo>
                  <a:lnTo>
                    <a:pt x="23223" y="5516"/>
                  </a:lnTo>
                  <a:lnTo>
                    <a:pt x="21035" y="10942"/>
                  </a:lnTo>
                  <a:lnTo>
                    <a:pt x="15609" y="8754"/>
                  </a:lnTo>
                  <a:lnTo>
                    <a:pt x="18093" y="7698"/>
                  </a:lnTo>
                  <a:close/>
                </a:path>
              </a:pathLst>
            </a:custGeom>
            <a:gradFill rotWithShape="1">
              <a:gsLst>
                <a:gs pos="0">
                  <a:schemeClr val="folHlink">
                    <a:gamma/>
                    <a:shade val="6275"/>
                    <a:invGamma/>
                  </a:schemeClr>
                </a:gs>
                <a:gs pos="100000">
                  <a:schemeClr val="folHlink"/>
                </a:gs>
              </a:gsLst>
              <a:lin ang="2700000" scaled="1"/>
            </a:gradFill>
            <a:ln w="9525">
              <a:noFill/>
              <a:miter lim="800000"/>
              <a:headEnd/>
              <a:tailEnd/>
            </a:ln>
            <a:effectLst/>
            <a:scene3d>
              <a:camera prst="legacyObliqueTopRight"/>
              <a:lightRig rig="legacyFlat3" dir="b"/>
            </a:scene3d>
            <a:sp3d extrusionH="176200" prstMaterial="legacyMatte">
              <a:bevelT w="13500" h="13500" prst="angle"/>
              <a:bevelB w="13500" h="13500" prst="angle"/>
              <a:extrusionClr>
                <a:schemeClr val="folHlink"/>
              </a:extrusionClr>
            </a:sp3d>
          </p:spPr>
          <p:txBody>
            <a:bodyPr wrap="none" anchor="ctr">
              <a:flatTx/>
            </a:bodyPr>
            <a:lstStyle/>
            <a:p>
              <a:pPr algn="r">
                <a:defRPr/>
              </a:pPr>
              <a:endParaRPr lang="zh-CN" altLang="en-US">
                <a:ea typeface="宋体" pitchFamily="2" charset="-122"/>
              </a:endParaRPr>
            </a:p>
          </p:txBody>
        </p:sp>
        <p:sp>
          <p:nvSpPr>
            <p:cNvPr id="17" name="AutoShape 24"/>
            <p:cNvSpPr>
              <a:spLocks noChangeArrowheads="1"/>
            </p:cNvSpPr>
            <p:nvPr/>
          </p:nvSpPr>
          <p:spPr bwMode="gray">
            <a:xfrm rot="22974404">
              <a:off x="2056" y="1536"/>
              <a:ext cx="1688" cy="1664"/>
            </a:xfrm>
            <a:custGeom>
              <a:avLst/>
              <a:gdLst>
                <a:gd name="G0" fmla="+- -1509893 0 0"/>
                <a:gd name="G1" fmla="+- -5955455 0 0"/>
                <a:gd name="G2" fmla="+- -1509893 0 -5955455"/>
                <a:gd name="G3" fmla="+- 10800 0 0"/>
                <a:gd name="G4" fmla="+- 0 0 -1509893"/>
                <a:gd name="T0" fmla="*/ 360 256 1"/>
                <a:gd name="T1" fmla="*/ 0 256 1"/>
                <a:gd name="G5" fmla="+- G2 T0 T1"/>
                <a:gd name="G6" fmla="?: G2 G2 G5"/>
                <a:gd name="G7" fmla="+- 0 0 G6"/>
                <a:gd name="G8" fmla="+- 7926 0 0"/>
                <a:gd name="G9" fmla="+- 0 0 -5955455"/>
                <a:gd name="G10" fmla="+- 7926 0 2700"/>
                <a:gd name="G11" fmla="cos G10 -1509893"/>
                <a:gd name="G12" fmla="sin G10 -1509893"/>
                <a:gd name="G13" fmla="cos 13500 -1509893"/>
                <a:gd name="G14" fmla="sin 13500 -1509893"/>
                <a:gd name="G15" fmla="+- G11 10800 0"/>
                <a:gd name="G16" fmla="+- G12 10800 0"/>
                <a:gd name="G17" fmla="+- G13 10800 0"/>
                <a:gd name="G18" fmla="+- G14 10800 0"/>
                <a:gd name="G19" fmla="*/ 7926 1 2"/>
                <a:gd name="G20" fmla="+- G19 5400 0"/>
                <a:gd name="G21" fmla="cos G20 -1509893"/>
                <a:gd name="G22" fmla="sin G20 -1509893"/>
                <a:gd name="G23" fmla="+- G21 10800 0"/>
                <a:gd name="G24" fmla="+- G12 G23 G22"/>
                <a:gd name="G25" fmla="+- G22 G23 G11"/>
                <a:gd name="G26" fmla="cos 10800 -1509893"/>
                <a:gd name="G27" fmla="sin 10800 -1509893"/>
                <a:gd name="G28" fmla="cos 7926 -1509893"/>
                <a:gd name="G29" fmla="sin 7926 -1509893"/>
                <a:gd name="G30" fmla="+- G26 10800 0"/>
                <a:gd name="G31" fmla="+- G27 10800 0"/>
                <a:gd name="G32" fmla="+- G28 10800 0"/>
                <a:gd name="G33" fmla="+- G29 10800 0"/>
                <a:gd name="G34" fmla="+- G19 5400 0"/>
                <a:gd name="G35" fmla="cos G34 -5955455"/>
                <a:gd name="G36" fmla="sin G34 -5955455"/>
                <a:gd name="G37" fmla="+/ -5955455 -1509893 2"/>
                <a:gd name="T2" fmla="*/ 180 256 1"/>
                <a:gd name="T3" fmla="*/ 0 256 1"/>
                <a:gd name="G38" fmla="+- G37 T2 T3"/>
                <a:gd name="G39" fmla="?: G2 G37 G38"/>
                <a:gd name="G40" fmla="cos 10800 G39"/>
                <a:gd name="G41" fmla="sin 10800 G39"/>
                <a:gd name="G42" fmla="cos 7926 G39"/>
                <a:gd name="G43" fmla="sin 7926 G39"/>
                <a:gd name="G44" fmla="+- G40 10800 0"/>
                <a:gd name="G45" fmla="+- G41 10800 0"/>
                <a:gd name="G46" fmla="+- G42 10800 0"/>
                <a:gd name="G47" fmla="+- G43 10800 0"/>
                <a:gd name="G48" fmla="+- G35 10800 0"/>
                <a:gd name="G49" fmla="+- G36 10800 0"/>
                <a:gd name="T4" fmla="*/ 16689 w 21600"/>
                <a:gd name="T5" fmla="*/ 1746 h 21600"/>
                <a:gd name="T6" fmla="*/ 10657 w 21600"/>
                <a:gd name="T7" fmla="*/ 1438 h 21600"/>
                <a:gd name="T8" fmla="*/ 15121 w 21600"/>
                <a:gd name="T9" fmla="*/ 4156 h 21600"/>
                <a:gd name="T10" fmla="*/ 23223 w 21600"/>
                <a:gd name="T11" fmla="*/ 5516 h 21600"/>
                <a:gd name="T12" fmla="*/ 21035 w 21600"/>
                <a:gd name="T13" fmla="*/ 10942 h 21600"/>
                <a:gd name="T14" fmla="*/ 15609 w 21600"/>
                <a:gd name="T15" fmla="*/ 8754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8093" y="7698"/>
                  </a:moveTo>
                  <a:cubicBezTo>
                    <a:pt x="16849" y="4772"/>
                    <a:pt x="13978" y="2874"/>
                    <a:pt x="10800" y="2874"/>
                  </a:cubicBezTo>
                  <a:cubicBezTo>
                    <a:pt x="10759" y="2873"/>
                    <a:pt x="10719" y="2874"/>
                    <a:pt x="10679" y="2874"/>
                  </a:cubicBezTo>
                  <a:lnTo>
                    <a:pt x="10635" y="1"/>
                  </a:lnTo>
                  <a:cubicBezTo>
                    <a:pt x="10690" y="0"/>
                    <a:pt x="10745" y="-1"/>
                    <a:pt x="10800" y="0"/>
                  </a:cubicBezTo>
                  <a:cubicBezTo>
                    <a:pt x="15131" y="0"/>
                    <a:pt x="19043" y="2587"/>
                    <a:pt x="20738" y="6573"/>
                  </a:cubicBezTo>
                  <a:lnTo>
                    <a:pt x="23223" y="5516"/>
                  </a:lnTo>
                  <a:lnTo>
                    <a:pt x="21035" y="10942"/>
                  </a:lnTo>
                  <a:lnTo>
                    <a:pt x="15609" y="8754"/>
                  </a:lnTo>
                  <a:lnTo>
                    <a:pt x="18093" y="7698"/>
                  </a:lnTo>
                  <a:close/>
                </a:path>
              </a:pathLst>
            </a:custGeom>
            <a:gradFill rotWithShape="1">
              <a:gsLst>
                <a:gs pos="0">
                  <a:schemeClr val="accent2">
                    <a:gamma/>
                    <a:shade val="0"/>
                    <a:invGamma/>
                  </a:schemeClr>
                </a:gs>
                <a:gs pos="100000">
                  <a:schemeClr val="accent2"/>
                </a:gs>
              </a:gsLst>
              <a:lin ang="2700000" scaled="1"/>
            </a:gradFill>
            <a:ln w="9525">
              <a:noFill/>
              <a:miter lim="800000"/>
              <a:headEnd/>
              <a:tailEnd/>
            </a:ln>
            <a:effectLst/>
            <a:scene3d>
              <a:camera prst="legacyObliqueTopRight"/>
              <a:lightRig rig="legacyFlat3" dir="b"/>
            </a:scene3d>
            <a:sp3d extrusionH="176200" prstMaterial="legacyMatte">
              <a:bevelT w="13500" h="13500" prst="angle"/>
              <a:bevelB w="13500" h="13500" prst="angle"/>
              <a:extrusionClr>
                <a:schemeClr val="accent2"/>
              </a:extrusionClr>
            </a:sp3d>
          </p:spPr>
          <p:txBody>
            <a:bodyPr wrap="none" anchor="ctr">
              <a:flatTx/>
            </a:bodyPr>
            <a:lstStyle/>
            <a:p>
              <a:pPr algn="r">
                <a:defRPr/>
              </a:pPr>
              <a:endParaRPr lang="zh-CN" altLang="en-US">
                <a:ea typeface="宋体" pitchFamily="2" charset="-122"/>
              </a:endParaRP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标题 1"/>
          <p:cNvSpPr>
            <a:spLocks noGrp="1"/>
          </p:cNvSpPr>
          <p:nvPr>
            <p:ph type="title"/>
          </p:nvPr>
        </p:nvSpPr>
        <p:spPr>
          <a:xfrm>
            <a:off x="0" y="15875"/>
            <a:ext cx="8201025" cy="460375"/>
          </a:xfrm>
        </p:spPr>
        <p:txBody>
          <a:bodyPr/>
          <a:lstStyle/>
          <a:p>
            <a:r>
              <a:rPr lang="zh-CN" altLang="en-US" smtClean="0"/>
              <a:t>目录</a:t>
            </a:r>
          </a:p>
        </p:txBody>
      </p:sp>
      <p:sp>
        <p:nvSpPr>
          <p:cNvPr id="19459" name="内容占位符 2"/>
          <p:cNvSpPr>
            <a:spLocks noGrp="1"/>
          </p:cNvSpPr>
          <p:nvPr>
            <p:ph idx="1"/>
          </p:nvPr>
        </p:nvSpPr>
        <p:spPr>
          <a:xfrm>
            <a:off x="1692275" y="1989138"/>
            <a:ext cx="5410200" cy="2782887"/>
          </a:xfrm>
        </p:spPr>
        <p:txBody>
          <a:bodyPr/>
          <a:lstStyle/>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基本概念</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市场及产业发展状况</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solidFill>
                  <a:srgbClr val="FF0000"/>
                </a:solidFill>
                <a:latin typeface="Cambria" pitchFamily="18" charset="0"/>
                <a:ea typeface="华文细黑" pitchFamily="2" charset="-122"/>
              </a:rPr>
              <a:t>云计算标准建设</a:t>
            </a:r>
            <a:endParaRPr lang="en-US" altLang="zh-CN" sz="2400" smtClean="0">
              <a:solidFill>
                <a:srgbClr val="FF0000"/>
              </a:solidFill>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关键技术</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在运营商应用现状介绍</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标题 1"/>
          <p:cNvSpPr>
            <a:spLocks noGrp="1"/>
          </p:cNvSpPr>
          <p:nvPr>
            <p:ph type="title"/>
          </p:nvPr>
        </p:nvSpPr>
        <p:spPr>
          <a:xfrm>
            <a:off x="0" y="15875"/>
            <a:ext cx="8201025" cy="460375"/>
          </a:xfrm>
        </p:spPr>
        <p:txBody>
          <a:bodyPr/>
          <a:lstStyle/>
          <a:p>
            <a:r>
              <a:rPr lang="zh-CN" altLang="en-US" smtClean="0"/>
              <a:t>云计算标准化进展</a:t>
            </a:r>
          </a:p>
        </p:txBody>
      </p:sp>
      <p:sp>
        <p:nvSpPr>
          <p:cNvPr id="20483" name="内容占位符 2"/>
          <p:cNvSpPr>
            <a:spLocks noGrp="1"/>
          </p:cNvSpPr>
          <p:nvPr>
            <p:ph idx="1"/>
          </p:nvPr>
        </p:nvSpPr>
        <p:spPr>
          <a:xfrm>
            <a:off x="457200" y="933450"/>
            <a:ext cx="8229600" cy="5591175"/>
          </a:xfrm>
        </p:spPr>
        <p:txBody>
          <a:bodyPr/>
          <a:lstStyle/>
          <a:p>
            <a:r>
              <a:rPr lang="zh-CN" altLang="en-US" b="0" smtClean="0"/>
              <a:t>云计算技术和产业仍处于发展的初期阶段，目前云计算呈现出事实标准（包括企业私有标准与开源实现）和开放标准并存，且在应用中以事实标准为主的情况。随着云计算作为一种公共服务的属性不断加强，以及云间的互通和业务迁移需求不断提升，云计算的开放标准将成为重要的发展趋势。</a:t>
            </a:r>
            <a:endParaRPr lang="en-US" altLang="zh-CN" b="0" smtClean="0"/>
          </a:p>
          <a:p>
            <a:r>
              <a:rPr lang="zh-CN" altLang="en-US" b="0" smtClean="0"/>
              <a:t>目前，全球范围内已经有</a:t>
            </a:r>
            <a:r>
              <a:rPr lang="en-US" altLang="zh-CN" b="0" smtClean="0"/>
              <a:t>50 </a:t>
            </a:r>
            <a:r>
              <a:rPr lang="zh-CN" altLang="en-US" b="0" smtClean="0"/>
              <a:t>多个标准组织宣布进行云计算开放标准的制订。标准组织的主要研究领域包括以下几个方面：</a:t>
            </a:r>
            <a:endParaRPr lang="en-US" altLang="zh-CN" b="0" smtClean="0"/>
          </a:p>
          <a:p>
            <a:pPr>
              <a:buFont typeface="Wingdings" pitchFamily="2" charset="2"/>
              <a:buChar char="Ø"/>
            </a:pPr>
            <a:r>
              <a:rPr lang="zh-CN" altLang="en-US" b="0" smtClean="0"/>
              <a:t>一是云计算的概念、架构与应用场景，</a:t>
            </a:r>
            <a:r>
              <a:rPr lang="en-US" altLang="zh-CN" b="0" smtClean="0"/>
              <a:t>NIST</a:t>
            </a:r>
            <a:r>
              <a:rPr lang="zh-CN" altLang="en-US" b="0" smtClean="0"/>
              <a:t>（美国国家标准研究院）已经提出了得到产业界公认的云计算概念与架构模型，</a:t>
            </a:r>
            <a:r>
              <a:rPr lang="en-US" altLang="zh-CN" b="0" smtClean="0"/>
              <a:t>ITU-T </a:t>
            </a:r>
            <a:r>
              <a:rPr lang="zh-CN" altLang="en-US" b="0" smtClean="0"/>
              <a:t>和</a:t>
            </a:r>
            <a:r>
              <a:rPr lang="en-US" altLang="zh-CN" b="0" smtClean="0"/>
              <a:t>ISO/IEC </a:t>
            </a:r>
            <a:r>
              <a:rPr lang="zh-CN" altLang="en-US" b="0" smtClean="0"/>
              <a:t>正在进行云计算技术架构和应用场景的研究，并形成了相关的研究报告；</a:t>
            </a:r>
            <a:endParaRPr lang="en-US" altLang="zh-CN" b="0" smtClean="0"/>
          </a:p>
          <a:p>
            <a:pPr>
              <a:buFont typeface="Wingdings" pitchFamily="2" charset="2"/>
              <a:buChar char="Ø"/>
            </a:pPr>
            <a:r>
              <a:rPr lang="zh-CN" altLang="en-US" b="0" smtClean="0"/>
              <a:t>二是云计算业务的互操作，一些新兴的专门针对云计算的标准组织在这方面有一定的进展，包括</a:t>
            </a:r>
            <a:r>
              <a:rPr lang="en-US" altLang="zh-CN" b="0" smtClean="0"/>
              <a:t>OCC</a:t>
            </a:r>
            <a:r>
              <a:rPr lang="zh-CN" altLang="en-US" b="0" smtClean="0"/>
              <a:t>（开放云计算联盟）、</a:t>
            </a:r>
            <a:r>
              <a:rPr lang="en-US" altLang="zh-CN" b="0" smtClean="0"/>
              <a:t>GICTF</a:t>
            </a:r>
            <a:r>
              <a:rPr lang="zh-CN" altLang="en-US" b="0" smtClean="0"/>
              <a:t>（全球云间技术论坛）、</a:t>
            </a:r>
            <a:r>
              <a:rPr lang="en-US" altLang="zh-CN" b="0" smtClean="0"/>
              <a:t>CCIF</a:t>
            </a:r>
            <a:r>
              <a:rPr lang="zh-CN" altLang="en-US" b="0" smtClean="0"/>
              <a:t>（云计算互操作论坛）等；</a:t>
            </a:r>
            <a:endParaRPr lang="en-US" altLang="zh-CN" b="0" smtClean="0"/>
          </a:p>
          <a:p>
            <a:pPr>
              <a:buFont typeface="Wingdings" pitchFamily="2" charset="2"/>
              <a:buChar char="Ø"/>
            </a:pPr>
            <a:r>
              <a:rPr lang="zh-CN" altLang="en-US" b="0" smtClean="0"/>
              <a:t>三是云计算安全，</a:t>
            </a:r>
            <a:r>
              <a:rPr lang="en-US" altLang="zh-CN" b="0" smtClean="0"/>
              <a:t>CSA</a:t>
            </a:r>
            <a:r>
              <a:rPr lang="zh-CN" altLang="en-US" b="0" smtClean="0"/>
              <a:t>（云计算安全联盟）是这一领域比较领先的组织，提出了云计算的七大安全威胁，</a:t>
            </a:r>
            <a:r>
              <a:rPr lang="en-US" altLang="zh-CN" b="0" smtClean="0"/>
              <a:t>ITU-T </a:t>
            </a:r>
            <a:r>
              <a:rPr lang="zh-CN" altLang="en-US" b="0" smtClean="0"/>
              <a:t>也在进行相关研究。</a:t>
            </a:r>
            <a:endParaRPr lang="zh-CN" altLang="en-US" smtClean="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标题 1"/>
          <p:cNvSpPr>
            <a:spLocks noGrp="1"/>
          </p:cNvSpPr>
          <p:nvPr>
            <p:ph type="title"/>
          </p:nvPr>
        </p:nvSpPr>
        <p:spPr>
          <a:xfrm>
            <a:off x="0" y="15875"/>
            <a:ext cx="8201025" cy="460375"/>
          </a:xfrm>
        </p:spPr>
        <p:txBody>
          <a:bodyPr/>
          <a:lstStyle/>
          <a:p>
            <a:r>
              <a:rPr lang="zh-CN" altLang="en-US" smtClean="0"/>
              <a:t>云计算标准化进展</a:t>
            </a:r>
          </a:p>
        </p:txBody>
      </p:sp>
      <p:sp>
        <p:nvSpPr>
          <p:cNvPr id="21507" name="内容占位符 2"/>
          <p:cNvSpPr>
            <a:spLocks noGrp="1"/>
          </p:cNvSpPr>
          <p:nvPr>
            <p:ph idx="1"/>
          </p:nvPr>
        </p:nvSpPr>
        <p:spPr>
          <a:xfrm>
            <a:off x="539750" y="765175"/>
            <a:ext cx="8229600" cy="4583113"/>
          </a:xfrm>
        </p:spPr>
        <p:txBody>
          <a:bodyPr/>
          <a:lstStyle/>
          <a:p>
            <a:pPr>
              <a:buFont typeface="Wingdings" pitchFamily="2" charset="2"/>
              <a:buChar char="Ø"/>
            </a:pPr>
            <a:r>
              <a:rPr lang="zh-CN" altLang="en-US" b="0" smtClean="0"/>
              <a:t>四是云计算相关技术，在资源与接口定义方面，</a:t>
            </a:r>
            <a:r>
              <a:rPr lang="en-US" altLang="zh-CN" b="0" smtClean="0"/>
              <a:t>DMTF</a:t>
            </a:r>
            <a:r>
              <a:rPr lang="zh-CN" altLang="en-US" b="0" smtClean="0"/>
              <a:t>（分布式管理任务组）与</a:t>
            </a:r>
            <a:r>
              <a:rPr lang="en-US" altLang="zh-CN" b="0" smtClean="0"/>
              <a:t>SNIA</a:t>
            </a:r>
            <a:r>
              <a:rPr lang="zh-CN" altLang="en-US" b="0" smtClean="0"/>
              <a:t>（全球网络存储工业协会）分别在统一虚拟机格式以及存储接口方面提出了技术标准，</a:t>
            </a:r>
            <a:r>
              <a:rPr lang="en-US" altLang="zh-CN" b="0" smtClean="0"/>
              <a:t>IEEE</a:t>
            </a:r>
            <a:r>
              <a:rPr lang="zh-CN" altLang="en-US" b="0" smtClean="0"/>
              <a:t>（美国电气和电子工程师协会）、</a:t>
            </a:r>
            <a:r>
              <a:rPr lang="en-US" altLang="zh-CN" b="0" smtClean="0"/>
              <a:t>IETF</a:t>
            </a:r>
            <a:r>
              <a:rPr lang="zh-CN" altLang="en-US" b="0" smtClean="0"/>
              <a:t>（互联网工程任务组）在云计算网络技术方面输出了较多成果，</a:t>
            </a:r>
            <a:r>
              <a:rPr lang="en-US" altLang="zh-CN" b="0" smtClean="0"/>
              <a:t>TGG</a:t>
            </a:r>
            <a:r>
              <a:rPr lang="zh-CN" altLang="en-US" b="0" smtClean="0"/>
              <a:t>（绿色网格组织）提出了绿色数据中心的评测指标；</a:t>
            </a:r>
            <a:endParaRPr lang="en-US" altLang="zh-CN" b="0" smtClean="0"/>
          </a:p>
          <a:p>
            <a:pPr>
              <a:buFont typeface="Wingdings" pitchFamily="2" charset="2"/>
              <a:buChar char="Ø"/>
            </a:pPr>
            <a:r>
              <a:rPr lang="zh-CN" altLang="en-US" b="0" smtClean="0"/>
              <a:t>五是云计算的运维与资源管理，</a:t>
            </a:r>
            <a:r>
              <a:rPr lang="en-US" altLang="zh-CN" b="0" smtClean="0"/>
              <a:t>DMTF </a:t>
            </a:r>
            <a:r>
              <a:rPr lang="zh-CN" altLang="en-US" b="0" smtClean="0"/>
              <a:t>基于对</a:t>
            </a:r>
            <a:r>
              <a:rPr lang="en-US" altLang="zh-CN" b="0" smtClean="0"/>
              <a:t>IT </a:t>
            </a:r>
            <a:r>
              <a:rPr lang="zh-CN" altLang="en-US" b="0" smtClean="0"/>
              <a:t>系统管理的研究提出了云计算系统的管理模型，</a:t>
            </a:r>
            <a:r>
              <a:rPr lang="en-US" altLang="zh-CN" b="0" smtClean="0"/>
              <a:t>OASIS</a:t>
            </a:r>
            <a:r>
              <a:rPr lang="zh-CN" altLang="en-US" b="0" smtClean="0"/>
              <a:t>（结构化信息促进组织）正在进行云计算身份管理的研究。</a:t>
            </a:r>
            <a:endParaRPr lang="zh-CN" altLang="en-US" smtClean="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标题 1"/>
          <p:cNvSpPr>
            <a:spLocks noGrp="1"/>
          </p:cNvSpPr>
          <p:nvPr>
            <p:ph type="title"/>
          </p:nvPr>
        </p:nvSpPr>
        <p:spPr>
          <a:xfrm>
            <a:off x="0" y="15875"/>
            <a:ext cx="8201025" cy="460375"/>
          </a:xfrm>
        </p:spPr>
        <p:txBody>
          <a:bodyPr/>
          <a:lstStyle/>
          <a:p>
            <a:r>
              <a:rPr lang="zh-CN" altLang="en-US" smtClean="0"/>
              <a:t>目录</a:t>
            </a:r>
          </a:p>
        </p:txBody>
      </p:sp>
      <p:sp>
        <p:nvSpPr>
          <p:cNvPr id="22531" name="内容占位符 2"/>
          <p:cNvSpPr>
            <a:spLocks noGrp="1"/>
          </p:cNvSpPr>
          <p:nvPr>
            <p:ph idx="1"/>
          </p:nvPr>
        </p:nvSpPr>
        <p:spPr>
          <a:xfrm>
            <a:off x="1692275" y="1989138"/>
            <a:ext cx="5410200" cy="2782887"/>
          </a:xfrm>
        </p:spPr>
        <p:txBody>
          <a:bodyPr/>
          <a:lstStyle/>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基本概念</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市场及产业发展状况</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标准建设</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solidFill>
                  <a:srgbClr val="FF0000"/>
                </a:solidFill>
                <a:latin typeface="Cambria" pitchFamily="18" charset="0"/>
                <a:ea typeface="华文细黑" pitchFamily="2" charset="-122"/>
              </a:rPr>
              <a:t>云计算关键技术</a:t>
            </a:r>
            <a:endParaRPr lang="en-US" altLang="zh-CN" sz="2400" smtClean="0">
              <a:solidFill>
                <a:srgbClr val="FF0000"/>
              </a:solidFill>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在运营商应用现状介绍</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标题 1"/>
          <p:cNvSpPr>
            <a:spLocks noGrp="1"/>
          </p:cNvSpPr>
          <p:nvPr>
            <p:ph type="title"/>
          </p:nvPr>
        </p:nvSpPr>
        <p:spPr>
          <a:xfrm>
            <a:off x="0" y="15875"/>
            <a:ext cx="8201025" cy="460375"/>
          </a:xfrm>
        </p:spPr>
        <p:txBody>
          <a:bodyPr/>
          <a:lstStyle/>
          <a:p>
            <a:r>
              <a:rPr lang="zh-CN" altLang="en-US" smtClean="0"/>
              <a:t>云计算技术架构</a:t>
            </a:r>
          </a:p>
        </p:txBody>
      </p:sp>
      <p:pic>
        <p:nvPicPr>
          <p:cNvPr id="13317" name="Picture 5"/>
          <p:cNvPicPr>
            <a:picLocks noChangeAspect="1" noChangeArrowheads="1"/>
          </p:cNvPicPr>
          <p:nvPr/>
        </p:nvPicPr>
        <p:blipFill>
          <a:blip r:embed="rId3"/>
          <a:srcRect/>
          <a:stretch>
            <a:fillRect/>
          </a:stretch>
        </p:blipFill>
        <p:spPr bwMode="auto">
          <a:xfrm>
            <a:off x="404813" y="809625"/>
            <a:ext cx="8334375" cy="5210175"/>
          </a:xfrm>
          <a:prstGeom prst="rect">
            <a:avLst/>
          </a:prstGeom>
          <a:noFill/>
          <a:ln>
            <a:noFill/>
          </a:ln>
          <a:effectLst>
            <a:prstShdw prst="shdw17" dist="17961" dir="2700000">
              <a:schemeClr val="accent1">
                <a:gamma/>
                <a:shade val="60000"/>
                <a:invGamma/>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标题 1"/>
          <p:cNvSpPr>
            <a:spLocks noGrp="1"/>
          </p:cNvSpPr>
          <p:nvPr>
            <p:ph type="title"/>
          </p:nvPr>
        </p:nvSpPr>
        <p:spPr>
          <a:xfrm>
            <a:off x="0" y="15875"/>
            <a:ext cx="8201025" cy="460375"/>
          </a:xfrm>
        </p:spPr>
        <p:txBody>
          <a:bodyPr/>
          <a:lstStyle/>
          <a:p>
            <a:r>
              <a:rPr lang="zh-CN" altLang="en-US" smtClean="0"/>
              <a:t>云计算服务模式</a:t>
            </a:r>
          </a:p>
        </p:txBody>
      </p:sp>
      <p:pic>
        <p:nvPicPr>
          <p:cNvPr id="24579" name="Picture 26" descr="whi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00" y="4424363"/>
            <a:ext cx="3416300" cy="159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0" name="Picture 26" descr="whi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00" y="2900363"/>
            <a:ext cx="3416300" cy="159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1" name="Picture 26" descr="whi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00" y="1455738"/>
            <a:ext cx="3416300" cy="159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2" name="Text Box 7"/>
          <p:cNvSpPr txBox="1">
            <a:spLocks noChangeArrowheads="1"/>
          </p:cNvSpPr>
          <p:nvPr/>
        </p:nvSpPr>
        <p:spPr bwMode="auto">
          <a:xfrm>
            <a:off x="679450" y="4843463"/>
            <a:ext cx="2544763"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r>
              <a:rPr lang="en-US" altLang="zh-CN" sz="1800">
                <a:latin typeface="Arial Narrow" pitchFamily="34" charset="0"/>
                <a:ea typeface="仿宋_GB2312"/>
                <a:cs typeface="Arial" pitchFamily="34" charset="0"/>
              </a:rPr>
              <a:t>Infrastructure as a Service</a:t>
            </a:r>
          </a:p>
          <a:p>
            <a:pPr algn="ctr" eaLnBrk="1" hangingPunct="1"/>
            <a:r>
              <a:rPr lang="zh-CN" altLang="en-US" sz="1800">
                <a:latin typeface="Arial Narrow" pitchFamily="34" charset="0"/>
                <a:ea typeface="仿宋_GB2312"/>
                <a:cs typeface="Arial" pitchFamily="34" charset="0"/>
              </a:rPr>
              <a:t>（</a:t>
            </a:r>
            <a:r>
              <a:rPr lang="en-US" altLang="zh-CN" sz="1800">
                <a:latin typeface="Arial Narrow" pitchFamily="34" charset="0"/>
                <a:ea typeface="仿宋_GB2312"/>
                <a:cs typeface="Arial" pitchFamily="34" charset="0"/>
              </a:rPr>
              <a:t>IaaS</a:t>
            </a:r>
            <a:r>
              <a:rPr lang="zh-CN" altLang="en-US" sz="1800">
                <a:latin typeface="Arial Narrow" pitchFamily="34" charset="0"/>
                <a:ea typeface="仿宋_GB2312"/>
                <a:cs typeface="Arial" pitchFamily="34" charset="0"/>
              </a:rPr>
              <a:t>）</a:t>
            </a:r>
            <a:endParaRPr lang="en-US" altLang="zh-CN" sz="1800">
              <a:latin typeface="Arial Narrow" pitchFamily="34" charset="0"/>
              <a:ea typeface="仿宋_GB2312"/>
              <a:cs typeface="Arial" pitchFamily="34" charset="0"/>
            </a:endParaRPr>
          </a:p>
        </p:txBody>
      </p:sp>
      <p:sp>
        <p:nvSpPr>
          <p:cNvPr id="24583" name="Text Box 8"/>
          <p:cNvSpPr txBox="1">
            <a:spLocks noChangeArrowheads="1"/>
          </p:cNvSpPr>
          <p:nvPr/>
        </p:nvSpPr>
        <p:spPr bwMode="auto">
          <a:xfrm>
            <a:off x="874713" y="3275013"/>
            <a:ext cx="208597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r>
              <a:rPr lang="en-US" altLang="zh-CN" sz="1800">
                <a:latin typeface="Arial Narrow" pitchFamily="34" charset="0"/>
                <a:ea typeface="仿宋_GB2312"/>
                <a:cs typeface="Arial" pitchFamily="34" charset="0"/>
              </a:rPr>
              <a:t>Platform as a Service</a:t>
            </a:r>
          </a:p>
          <a:p>
            <a:pPr algn="ctr" eaLnBrk="1" hangingPunct="1"/>
            <a:r>
              <a:rPr lang="zh-CN" altLang="en-US" sz="1800">
                <a:latin typeface="Arial Narrow" pitchFamily="34" charset="0"/>
                <a:ea typeface="仿宋_GB2312"/>
                <a:cs typeface="Arial" pitchFamily="34" charset="0"/>
              </a:rPr>
              <a:t>（</a:t>
            </a:r>
            <a:r>
              <a:rPr lang="en-US" altLang="zh-CN" sz="1800">
                <a:latin typeface="Arial Narrow" pitchFamily="34" charset="0"/>
                <a:ea typeface="仿宋_GB2312"/>
                <a:cs typeface="Arial" pitchFamily="34" charset="0"/>
              </a:rPr>
              <a:t>PaaS</a:t>
            </a:r>
            <a:r>
              <a:rPr lang="zh-CN" altLang="en-US" sz="1800">
                <a:latin typeface="Arial Narrow" pitchFamily="34" charset="0"/>
                <a:ea typeface="仿宋_GB2312"/>
                <a:cs typeface="Arial" pitchFamily="34" charset="0"/>
              </a:rPr>
              <a:t>）</a:t>
            </a:r>
            <a:endParaRPr lang="en-US" altLang="zh-CN" sz="1800">
              <a:latin typeface="Arial Narrow" pitchFamily="34" charset="0"/>
              <a:ea typeface="仿宋_GB2312"/>
              <a:cs typeface="Arial" pitchFamily="34" charset="0"/>
            </a:endParaRPr>
          </a:p>
        </p:txBody>
      </p:sp>
      <p:sp>
        <p:nvSpPr>
          <p:cNvPr id="24584" name="Text Box 9"/>
          <p:cNvSpPr txBox="1">
            <a:spLocks noChangeArrowheads="1"/>
          </p:cNvSpPr>
          <p:nvPr/>
        </p:nvSpPr>
        <p:spPr bwMode="auto">
          <a:xfrm>
            <a:off x="877888" y="1827213"/>
            <a:ext cx="211772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r>
              <a:rPr lang="en-US" altLang="zh-CN" sz="1800">
                <a:latin typeface="Arial Narrow" pitchFamily="34" charset="0"/>
                <a:ea typeface="仿宋_GB2312"/>
                <a:cs typeface="Arial" pitchFamily="34" charset="0"/>
              </a:rPr>
              <a:t>Software as a Service</a:t>
            </a:r>
          </a:p>
          <a:p>
            <a:pPr algn="ctr" eaLnBrk="1" hangingPunct="1"/>
            <a:r>
              <a:rPr lang="zh-CN" altLang="en-US" sz="1800">
                <a:latin typeface="Arial Narrow" pitchFamily="34" charset="0"/>
                <a:ea typeface="仿宋_GB2312"/>
                <a:cs typeface="Arial" pitchFamily="34" charset="0"/>
              </a:rPr>
              <a:t>（</a:t>
            </a:r>
            <a:r>
              <a:rPr lang="en-US" altLang="zh-CN" sz="1800">
                <a:latin typeface="Arial Narrow" pitchFamily="34" charset="0"/>
                <a:ea typeface="仿宋_GB2312"/>
                <a:cs typeface="Arial" pitchFamily="34" charset="0"/>
              </a:rPr>
              <a:t>SaaS</a:t>
            </a:r>
            <a:r>
              <a:rPr lang="zh-CN" altLang="en-US" sz="1800">
                <a:latin typeface="Arial Narrow" pitchFamily="34" charset="0"/>
                <a:ea typeface="仿宋_GB2312"/>
                <a:cs typeface="Arial" pitchFamily="34" charset="0"/>
              </a:rPr>
              <a:t>）</a:t>
            </a:r>
          </a:p>
        </p:txBody>
      </p:sp>
      <p:sp>
        <p:nvSpPr>
          <p:cNvPr id="24585" name="Text Box 11"/>
          <p:cNvSpPr txBox="1">
            <a:spLocks noChangeArrowheads="1"/>
          </p:cNvSpPr>
          <p:nvPr/>
        </p:nvSpPr>
        <p:spPr bwMode="auto">
          <a:xfrm>
            <a:off x="3657600" y="1524000"/>
            <a:ext cx="5105400" cy="11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a:lnSpc>
                <a:spcPct val="120000"/>
              </a:lnSpc>
              <a:spcBef>
                <a:spcPct val="50000"/>
              </a:spcBef>
            </a:pPr>
            <a:r>
              <a:rPr lang="zh-CN" altLang="en-US" sz="1600">
                <a:solidFill>
                  <a:srgbClr val="FF0000"/>
                </a:solidFill>
                <a:latin typeface="Arial Narrow" pitchFamily="34" charset="0"/>
                <a:ea typeface="仿宋_GB2312"/>
                <a:cs typeface="仿宋_GB2312"/>
              </a:rPr>
              <a:t>软件交付的模式：</a:t>
            </a:r>
            <a:r>
              <a:rPr lang="zh-CN" altLang="en-US" sz="1600" i="1">
                <a:solidFill>
                  <a:schemeClr val="tx2"/>
                </a:solidFill>
                <a:latin typeface="Arial Narrow" pitchFamily="34" charset="0"/>
                <a:ea typeface="仿宋_GB2312"/>
                <a:cs typeface="仿宋_GB2312"/>
              </a:rPr>
              <a:t>采用多租赁</a:t>
            </a:r>
            <a:r>
              <a:rPr lang="en-US" altLang="zh-CN" sz="1600" i="1">
                <a:solidFill>
                  <a:schemeClr val="tx2"/>
                </a:solidFill>
                <a:latin typeface="Arial Narrow" pitchFamily="34" charset="0"/>
                <a:ea typeface="仿宋_GB2312"/>
                <a:cs typeface="仿宋_GB2312"/>
              </a:rPr>
              <a:t>(Multitenant)</a:t>
            </a:r>
            <a:r>
              <a:rPr lang="zh-CN" altLang="en-US" sz="1600" i="1">
                <a:solidFill>
                  <a:schemeClr val="tx2"/>
                </a:solidFill>
                <a:latin typeface="Arial Narrow" pitchFamily="34" charset="0"/>
                <a:ea typeface="仿宋_GB2312"/>
                <a:cs typeface="仿宋_GB2312"/>
              </a:rPr>
              <a:t>方式通过浏览器把程序传给成千上万的用户。在用户眼中看来，这样会省去在服务器和软件授权上的开支；从供应商角度来看，这样只需要维持一个程序就够了，这样能够减少成本</a:t>
            </a:r>
            <a:endParaRPr lang="en-US" altLang="zh-CN" sz="1600" i="1">
              <a:solidFill>
                <a:schemeClr val="accent1"/>
              </a:solidFill>
              <a:latin typeface="Arial Narrow" pitchFamily="34" charset="0"/>
              <a:ea typeface="仿宋_GB2312"/>
              <a:cs typeface="仿宋_GB2312"/>
            </a:endParaRPr>
          </a:p>
        </p:txBody>
      </p:sp>
      <p:sp>
        <p:nvSpPr>
          <p:cNvPr id="24586" name="Text Box 12"/>
          <p:cNvSpPr txBox="1">
            <a:spLocks noChangeArrowheads="1"/>
          </p:cNvSpPr>
          <p:nvPr/>
        </p:nvSpPr>
        <p:spPr bwMode="auto">
          <a:xfrm>
            <a:off x="3656013" y="3030538"/>
            <a:ext cx="5035550" cy="1211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a:lnSpc>
                <a:spcPct val="120000"/>
              </a:lnSpc>
              <a:spcBef>
                <a:spcPct val="50000"/>
              </a:spcBef>
            </a:pPr>
            <a:r>
              <a:rPr lang="zh-CN" altLang="en-US" sz="1600">
                <a:solidFill>
                  <a:srgbClr val="FF0000"/>
                </a:solidFill>
                <a:latin typeface="Arial Narrow" pitchFamily="34" charset="0"/>
                <a:ea typeface="仿宋_GB2312"/>
                <a:cs typeface="仿宋_GB2312"/>
              </a:rPr>
              <a:t>平台交付的模式：</a:t>
            </a:r>
            <a:r>
              <a:rPr lang="zh-CN" altLang="en-US" sz="1600" i="1">
                <a:solidFill>
                  <a:schemeClr val="tx2"/>
                </a:solidFill>
                <a:latin typeface="Arial Narrow" pitchFamily="34" charset="0"/>
                <a:ea typeface="仿宋_GB2312"/>
                <a:cs typeface="仿宋_GB2312"/>
              </a:rPr>
              <a:t>可以看成是</a:t>
            </a:r>
            <a:r>
              <a:rPr lang="en-US" altLang="zh-CN" sz="1600" i="1">
                <a:solidFill>
                  <a:schemeClr val="tx2"/>
                </a:solidFill>
                <a:latin typeface="Arial Narrow" pitchFamily="34" charset="0"/>
                <a:ea typeface="仿宋_GB2312"/>
                <a:cs typeface="仿宋_GB2312"/>
              </a:rPr>
              <a:t>IIaaS</a:t>
            </a:r>
            <a:r>
              <a:rPr lang="zh-CN" altLang="en-US" sz="1600" i="1">
                <a:solidFill>
                  <a:schemeClr val="tx2"/>
                </a:solidFill>
                <a:latin typeface="Arial Narrow" pitchFamily="34" charset="0"/>
                <a:ea typeface="仿宋_GB2312"/>
                <a:cs typeface="仿宋_GB2312"/>
              </a:rPr>
              <a:t>的延伸。这种形式的云计算把开发、部署环境作为服务来提供，可以创建自己的应用软件并部署在供应商的基础架构上运行，然后通过网络从供应商的服务器上传递给用户</a:t>
            </a:r>
            <a:r>
              <a:rPr lang="zh-CN" altLang="en-US" sz="1800">
                <a:solidFill>
                  <a:schemeClr val="tx2"/>
                </a:solidFill>
                <a:latin typeface="Arial Narrow" pitchFamily="34" charset="0"/>
                <a:ea typeface="仿宋_GB2312"/>
                <a:cs typeface="仿宋_GB2312"/>
              </a:rPr>
              <a:t> </a:t>
            </a:r>
          </a:p>
        </p:txBody>
      </p:sp>
      <p:sp>
        <p:nvSpPr>
          <p:cNvPr id="24587" name="Text Box 13"/>
          <p:cNvSpPr txBox="1">
            <a:spLocks noChangeArrowheads="1"/>
          </p:cNvSpPr>
          <p:nvPr/>
        </p:nvSpPr>
        <p:spPr bwMode="auto">
          <a:xfrm>
            <a:off x="3684588" y="4605338"/>
            <a:ext cx="4999037" cy="881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a:lnSpc>
                <a:spcPct val="120000"/>
              </a:lnSpc>
              <a:spcBef>
                <a:spcPct val="50000"/>
              </a:spcBef>
            </a:pPr>
            <a:r>
              <a:rPr lang="en-US" altLang="zh-CN" sz="1600">
                <a:solidFill>
                  <a:srgbClr val="FF0000"/>
                </a:solidFill>
                <a:latin typeface="Arial Narrow" pitchFamily="34" charset="0"/>
                <a:ea typeface="仿宋_GB2312"/>
                <a:cs typeface="仿宋_GB2312"/>
              </a:rPr>
              <a:t>Computer</a:t>
            </a:r>
            <a:r>
              <a:rPr lang="zh-CN" altLang="en-US" sz="1600">
                <a:solidFill>
                  <a:srgbClr val="FF0000"/>
                </a:solidFill>
                <a:latin typeface="Arial Narrow" pitchFamily="34" charset="0"/>
                <a:ea typeface="仿宋_GB2312"/>
                <a:cs typeface="仿宋_GB2312"/>
              </a:rPr>
              <a:t>交付的模式：</a:t>
            </a:r>
            <a:r>
              <a:rPr lang="zh-CN" altLang="en-US" sz="1600" i="1">
                <a:latin typeface="Arial Narrow" pitchFamily="34" charset="0"/>
                <a:ea typeface="仿宋_GB2312"/>
                <a:cs typeface="仿宋_GB2312"/>
              </a:rPr>
              <a:t>也称为硬件即服务，或效用计算</a:t>
            </a:r>
            <a:r>
              <a:rPr lang="en-US" altLang="zh-CN" sz="1600" i="1">
                <a:latin typeface="Arial Narrow" pitchFamily="34" charset="0"/>
                <a:ea typeface="仿宋_GB2312"/>
                <a:cs typeface="仿宋_GB2312"/>
              </a:rPr>
              <a:t>(Utility Computing)</a:t>
            </a:r>
            <a:r>
              <a:rPr lang="zh-CN" altLang="en-US" sz="1600" i="1">
                <a:latin typeface="Arial Narrow" pitchFamily="34" charset="0"/>
                <a:ea typeface="仿宋_GB2312"/>
                <a:cs typeface="仿宋_GB2312"/>
              </a:rPr>
              <a:t>，指的是最基本的计算资源、存贮资源、网络资源，用虚拟化的方法以租用方式提供给客户</a:t>
            </a:r>
            <a:endParaRPr lang="zh-CN" altLang="en-US" sz="1600" i="1">
              <a:solidFill>
                <a:schemeClr val="tx2"/>
              </a:solidFill>
              <a:latin typeface="Arial Narrow" pitchFamily="34" charset="0"/>
              <a:ea typeface="仿宋_GB2312"/>
              <a:cs typeface="仿宋_GB231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标题 1"/>
          <p:cNvSpPr>
            <a:spLocks noGrp="1"/>
          </p:cNvSpPr>
          <p:nvPr>
            <p:ph type="title"/>
          </p:nvPr>
        </p:nvSpPr>
        <p:spPr>
          <a:xfrm>
            <a:off x="0" y="15875"/>
            <a:ext cx="8201025" cy="460375"/>
          </a:xfrm>
        </p:spPr>
        <p:txBody>
          <a:bodyPr/>
          <a:lstStyle/>
          <a:p>
            <a:r>
              <a:rPr lang="zh-CN" altLang="en-US" smtClean="0"/>
              <a:t>云计算基础设施关键技术</a:t>
            </a:r>
            <a:r>
              <a:rPr lang="en-US" altLang="zh-CN" smtClean="0"/>
              <a:t>——</a:t>
            </a:r>
            <a:r>
              <a:rPr lang="zh-CN" altLang="en-US" smtClean="0"/>
              <a:t>服务器技术</a:t>
            </a:r>
          </a:p>
        </p:txBody>
      </p:sp>
      <p:grpSp>
        <p:nvGrpSpPr>
          <p:cNvPr id="25603" name="Group 73"/>
          <p:cNvGrpSpPr>
            <a:grpSpLocks/>
          </p:cNvGrpSpPr>
          <p:nvPr/>
        </p:nvGrpSpPr>
        <p:grpSpPr bwMode="auto">
          <a:xfrm>
            <a:off x="6083300" y="2886075"/>
            <a:ext cx="2628900" cy="2303463"/>
            <a:chOff x="2436813" y="1704978"/>
            <a:chExt cx="3787775" cy="3767137"/>
          </a:xfrm>
        </p:grpSpPr>
        <p:grpSp>
          <p:nvGrpSpPr>
            <p:cNvPr id="25606" name="Group 2"/>
            <p:cNvGrpSpPr>
              <a:grpSpLocks/>
            </p:cNvGrpSpPr>
            <p:nvPr/>
          </p:nvGrpSpPr>
          <p:grpSpPr bwMode="auto">
            <a:xfrm rot="970257">
              <a:off x="3416300" y="3633790"/>
              <a:ext cx="1841500" cy="1838325"/>
              <a:chOff x="1349" y="2203"/>
              <a:chExt cx="924" cy="922"/>
            </a:xfrm>
          </p:grpSpPr>
          <p:sp>
            <p:nvSpPr>
              <p:cNvPr id="64" name="AutoShape 3"/>
              <p:cNvSpPr>
                <a:spLocks noChangeArrowheads="1"/>
              </p:cNvSpPr>
              <p:nvPr/>
            </p:nvSpPr>
            <p:spPr bwMode="gray">
              <a:xfrm>
                <a:off x="1343" y="2200"/>
                <a:ext cx="924" cy="922"/>
              </a:xfrm>
              <a:prstGeom prst="diamond">
                <a:avLst/>
              </a:prstGeom>
              <a:solidFill>
                <a:srgbClr val="926408"/>
              </a:solidFill>
              <a:ln w="57150" algn="ctr">
                <a:solidFill>
                  <a:srgbClr val="CDDCE9"/>
                </a:solidFill>
                <a:miter lim="800000"/>
                <a:headEnd/>
                <a:tailEnd/>
              </a:ln>
              <a:effectLst>
                <a:prstShdw prst="shdw17" dist="17961" dir="2700000">
                  <a:srgbClr val="CDDCE9">
                    <a:gamma/>
                    <a:shade val="60000"/>
                    <a:invGamma/>
                  </a:srgbClr>
                </a:prstShdw>
              </a:effectLst>
            </p:spPr>
            <p:txBody>
              <a:bodyPr wrap="none" anchor="ctr"/>
              <a:lstStyle/>
              <a:p>
                <a:pPr fontAlgn="auto">
                  <a:spcBef>
                    <a:spcPts val="0"/>
                  </a:spcBef>
                  <a:spcAft>
                    <a:spcPts val="0"/>
                  </a:spcAft>
                  <a:defRPr/>
                </a:pPr>
                <a:endParaRPr lang="zh-CN" altLang="en-US">
                  <a:latin typeface="+mj-ea"/>
                  <a:ea typeface="+mj-ea"/>
                </a:endParaRPr>
              </a:p>
            </p:txBody>
          </p:sp>
          <p:sp>
            <p:nvSpPr>
              <p:cNvPr id="65" name="AutoShape 4"/>
              <p:cNvSpPr>
                <a:spLocks noChangeArrowheads="1"/>
              </p:cNvSpPr>
              <p:nvPr/>
            </p:nvSpPr>
            <p:spPr bwMode="gray">
              <a:xfrm>
                <a:off x="1585" y="2222"/>
                <a:ext cx="443" cy="228"/>
              </a:xfrm>
              <a:prstGeom prst="triangle">
                <a:avLst>
                  <a:gd name="adj" fmla="val 50000"/>
                </a:avLst>
              </a:prstGeom>
              <a:gradFill rotWithShape="1">
                <a:gsLst>
                  <a:gs pos="0">
                    <a:srgbClr val="926408">
                      <a:gamma/>
                      <a:tint val="13725"/>
                      <a:invGamma/>
                    </a:srgbClr>
                  </a:gs>
                  <a:gs pos="100000">
                    <a:srgbClr val="926408"/>
                  </a:gs>
                </a:gsLst>
                <a:lin ang="5400000" scaled="1"/>
              </a:gradFill>
              <a:ln w="9525" algn="ctr">
                <a:noFill/>
                <a:miter lim="800000"/>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66" name="AutoShape 5"/>
              <p:cNvSpPr>
                <a:spLocks noChangeArrowheads="1"/>
              </p:cNvSpPr>
              <p:nvPr/>
            </p:nvSpPr>
            <p:spPr bwMode="gray">
              <a:xfrm flipV="1">
                <a:off x="1586" y="2881"/>
                <a:ext cx="429" cy="215"/>
              </a:xfrm>
              <a:prstGeom prst="triangle">
                <a:avLst>
                  <a:gd name="adj" fmla="val 50000"/>
                </a:avLst>
              </a:prstGeom>
              <a:gradFill rotWithShape="1">
                <a:gsLst>
                  <a:gs pos="0">
                    <a:srgbClr val="442E04"/>
                  </a:gs>
                  <a:gs pos="100000">
                    <a:srgbClr val="926408"/>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rot="10800000" wrap="none" anchor="ctr"/>
              <a:lstStyle/>
              <a:p>
                <a:pPr fontAlgn="auto">
                  <a:spcBef>
                    <a:spcPts val="0"/>
                  </a:spcBef>
                  <a:spcAft>
                    <a:spcPts val="0"/>
                  </a:spcAft>
                  <a:defRPr/>
                </a:pPr>
                <a:endParaRPr lang="zh-CN" altLang="en-US">
                  <a:latin typeface="+mj-ea"/>
                  <a:ea typeface="+mj-ea"/>
                </a:endParaRPr>
              </a:p>
            </p:txBody>
          </p:sp>
        </p:grpSp>
        <p:grpSp>
          <p:nvGrpSpPr>
            <p:cNvPr id="25607" name="Group 6"/>
            <p:cNvGrpSpPr>
              <a:grpSpLocks/>
            </p:cNvGrpSpPr>
            <p:nvPr/>
          </p:nvGrpSpPr>
          <p:grpSpPr bwMode="auto">
            <a:xfrm rot="970257">
              <a:off x="3406775" y="1704978"/>
              <a:ext cx="1843088" cy="1843087"/>
              <a:chOff x="751" y="1531"/>
              <a:chExt cx="1161" cy="1161"/>
            </a:xfrm>
          </p:grpSpPr>
          <p:sp>
            <p:nvSpPr>
              <p:cNvPr id="61" name="AutoShape 7"/>
              <p:cNvSpPr>
                <a:spLocks noChangeArrowheads="1"/>
              </p:cNvSpPr>
              <p:nvPr/>
            </p:nvSpPr>
            <p:spPr bwMode="gray">
              <a:xfrm>
                <a:off x="741" y="1528"/>
                <a:ext cx="1169" cy="1161"/>
              </a:xfrm>
              <a:prstGeom prst="diamond">
                <a:avLst/>
              </a:prstGeom>
              <a:solidFill>
                <a:srgbClr val="08926B"/>
              </a:solidFill>
              <a:ln w="57150" algn="ctr">
                <a:solidFill>
                  <a:srgbClr val="CDDCE9"/>
                </a:solidFill>
                <a:miter lim="800000"/>
                <a:headEnd/>
                <a:tailEnd/>
              </a:ln>
              <a:effectLst>
                <a:prstShdw prst="shdw17" dist="17961" dir="2700000">
                  <a:srgbClr val="CDDCE9">
                    <a:gamma/>
                    <a:shade val="60000"/>
                    <a:invGamma/>
                  </a:srgbClr>
                </a:prstShdw>
              </a:effectLst>
            </p:spPr>
            <p:txBody>
              <a:bodyPr wrap="none" anchor="ctr"/>
              <a:lstStyle/>
              <a:p>
                <a:pPr fontAlgn="auto">
                  <a:spcBef>
                    <a:spcPts val="0"/>
                  </a:spcBef>
                  <a:spcAft>
                    <a:spcPts val="0"/>
                  </a:spcAft>
                  <a:defRPr/>
                </a:pPr>
                <a:endParaRPr lang="zh-CN" altLang="en-US">
                  <a:latin typeface="+mj-ea"/>
                  <a:ea typeface="+mj-ea"/>
                </a:endParaRPr>
              </a:p>
            </p:txBody>
          </p:sp>
          <p:sp>
            <p:nvSpPr>
              <p:cNvPr id="62" name="AutoShape 8"/>
              <p:cNvSpPr>
                <a:spLocks noChangeArrowheads="1"/>
              </p:cNvSpPr>
              <p:nvPr/>
            </p:nvSpPr>
            <p:spPr bwMode="gray">
              <a:xfrm>
                <a:off x="1049" y="1556"/>
                <a:ext cx="540" cy="270"/>
              </a:xfrm>
              <a:prstGeom prst="triangle">
                <a:avLst>
                  <a:gd name="adj" fmla="val 50000"/>
                </a:avLst>
              </a:prstGeom>
              <a:gradFill rotWithShape="1">
                <a:gsLst>
                  <a:gs pos="0">
                    <a:srgbClr val="49F5C4"/>
                  </a:gs>
                  <a:gs pos="100000">
                    <a:srgbClr val="08926B"/>
                  </a:gs>
                </a:gsLst>
                <a:lin ang="5400000" scaled="1"/>
              </a:gradFill>
              <a:ln w="9525" algn="ctr">
                <a:noFill/>
                <a:miter lim="800000"/>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63" name="AutoShape 9"/>
              <p:cNvSpPr>
                <a:spLocks noChangeArrowheads="1"/>
              </p:cNvSpPr>
              <p:nvPr/>
            </p:nvSpPr>
            <p:spPr bwMode="gray">
              <a:xfrm flipV="1">
                <a:off x="1046" y="2381"/>
                <a:ext cx="543" cy="271"/>
              </a:xfrm>
              <a:prstGeom prst="triangle">
                <a:avLst>
                  <a:gd name="adj" fmla="val 50000"/>
                </a:avLst>
              </a:prstGeom>
              <a:gradFill rotWithShape="1">
                <a:gsLst>
                  <a:gs pos="0">
                    <a:srgbClr val="044432"/>
                  </a:gs>
                  <a:gs pos="100000">
                    <a:srgbClr val="08926B"/>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rot="10800000" wrap="none" anchor="ctr"/>
              <a:lstStyle/>
              <a:p>
                <a:pPr fontAlgn="auto">
                  <a:spcBef>
                    <a:spcPts val="0"/>
                  </a:spcBef>
                  <a:spcAft>
                    <a:spcPts val="0"/>
                  </a:spcAft>
                  <a:defRPr/>
                </a:pPr>
                <a:endParaRPr lang="zh-CN" altLang="en-US">
                  <a:latin typeface="+mj-ea"/>
                  <a:ea typeface="+mj-ea"/>
                </a:endParaRPr>
              </a:p>
            </p:txBody>
          </p:sp>
        </p:grpSp>
        <p:sp>
          <p:nvSpPr>
            <p:cNvPr id="7" name="Rectangle 10"/>
            <p:cNvSpPr>
              <a:spLocks noChangeArrowheads="1"/>
            </p:cNvSpPr>
            <p:nvPr/>
          </p:nvSpPr>
          <p:spPr bwMode="gray">
            <a:xfrm>
              <a:off x="3646797" y="2138550"/>
              <a:ext cx="1365520" cy="498477"/>
            </a:xfrm>
            <a:prstGeom prst="rect">
              <a:avLst/>
            </a:prstGeom>
            <a:noFill/>
            <a:ln w="9525" algn="ctr">
              <a:noFill/>
              <a:miter lim="800000"/>
              <a:headEnd/>
              <a:tailEnd/>
            </a:ln>
            <a:effectLst/>
          </p:spPr>
          <p:txBody>
            <a:bodyPr>
              <a:spAutoFit/>
            </a:bodyPr>
            <a:lstStyle/>
            <a:p>
              <a:pPr algn="ctr" fontAlgn="auto">
                <a:spcBef>
                  <a:spcPts val="0"/>
                </a:spcBef>
                <a:spcAft>
                  <a:spcPts val="0"/>
                </a:spcAft>
                <a:defRPr/>
              </a:pPr>
              <a:r>
                <a:rPr lang="zh-CN" altLang="en-US" sz="1400" dirty="0">
                  <a:solidFill>
                    <a:schemeClr val="bg1"/>
                  </a:solidFill>
                  <a:latin typeface="+mj-ea"/>
                  <a:ea typeface="+mj-ea"/>
                </a:rPr>
                <a:t>通用性</a:t>
              </a:r>
              <a:endParaRPr lang="en-US" altLang="zh-CN" sz="1400" dirty="0">
                <a:solidFill>
                  <a:schemeClr val="bg1"/>
                </a:solidFill>
                <a:latin typeface="+mj-ea"/>
                <a:ea typeface="+mj-ea"/>
              </a:endParaRPr>
            </a:p>
          </p:txBody>
        </p:sp>
        <p:grpSp>
          <p:nvGrpSpPr>
            <p:cNvPr id="25609" name="Group 21"/>
            <p:cNvGrpSpPr>
              <a:grpSpLocks/>
            </p:cNvGrpSpPr>
            <p:nvPr/>
          </p:nvGrpSpPr>
          <p:grpSpPr bwMode="auto">
            <a:xfrm rot="970257">
              <a:off x="2436813" y="2670178"/>
              <a:ext cx="1843087" cy="1843087"/>
              <a:chOff x="751" y="1531"/>
              <a:chExt cx="1161" cy="1161"/>
            </a:xfrm>
          </p:grpSpPr>
          <p:sp>
            <p:nvSpPr>
              <p:cNvPr id="58" name="AutoShape 22"/>
              <p:cNvSpPr>
                <a:spLocks noChangeArrowheads="1"/>
              </p:cNvSpPr>
              <p:nvPr/>
            </p:nvSpPr>
            <p:spPr bwMode="gray">
              <a:xfrm>
                <a:off x="746" y="1527"/>
                <a:ext cx="1167" cy="1161"/>
              </a:xfrm>
              <a:prstGeom prst="diamond">
                <a:avLst/>
              </a:prstGeom>
              <a:solidFill>
                <a:srgbClr val="085092"/>
              </a:solidFill>
              <a:ln w="57150" algn="ctr">
                <a:solidFill>
                  <a:srgbClr val="CDDCE9"/>
                </a:solidFill>
                <a:miter lim="800000"/>
                <a:headEnd/>
                <a:tailEnd/>
              </a:ln>
              <a:effectLst>
                <a:prstShdw prst="shdw17" dist="17961" dir="2700000">
                  <a:srgbClr val="CDDCE9">
                    <a:gamma/>
                    <a:shade val="60000"/>
                    <a:invGamma/>
                  </a:srgbClr>
                </a:prstShdw>
              </a:effectLst>
            </p:spPr>
            <p:txBody>
              <a:bodyPr wrap="none" anchor="ctr"/>
              <a:lstStyle/>
              <a:p>
                <a:pPr fontAlgn="auto">
                  <a:spcBef>
                    <a:spcPts val="0"/>
                  </a:spcBef>
                  <a:spcAft>
                    <a:spcPts val="0"/>
                  </a:spcAft>
                  <a:defRPr/>
                </a:pPr>
                <a:endParaRPr lang="zh-CN" altLang="en-US">
                  <a:latin typeface="+mj-ea"/>
                  <a:ea typeface="+mj-ea"/>
                </a:endParaRPr>
              </a:p>
            </p:txBody>
          </p:sp>
          <p:sp>
            <p:nvSpPr>
              <p:cNvPr id="59" name="AutoShape 23"/>
              <p:cNvSpPr>
                <a:spLocks noChangeArrowheads="1"/>
              </p:cNvSpPr>
              <p:nvPr/>
            </p:nvSpPr>
            <p:spPr bwMode="gray">
              <a:xfrm>
                <a:off x="1056" y="1551"/>
                <a:ext cx="540" cy="273"/>
              </a:xfrm>
              <a:prstGeom prst="triangle">
                <a:avLst>
                  <a:gd name="adj" fmla="val 50000"/>
                </a:avLst>
              </a:prstGeom>
              <a:gradFill rotWithShape="1">
                <a:gsLst>
                  <a:gs pos="0">
                    <a:srgbClr val="085092">
                      <a:gamma/>
                      <a:tint val="13725"/>
                      <a:invGamma/>
                    </a:srgbClr>
                  </a:gs>
                  <a:gs pos="100000">
                    <a:srgbClr val="085092"/>
                  </a:gs>
                </a:gsLst>
                <a:lin ang="5400000" scaled="1"/>
              </a:gradFill>
              <a:ln w="9525" algn="ctr">
                <a:noFill/>
                <a:miter lim="800000"/>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60" name="AutoShape 24"/>
              <p:cNvSpPr>
                <a:spLocks noChangeArrowheads="1"/>
              </p:cNvSpPr>
              <p:nvPr/>
            </p:nvSpPr>
            <p:spPr bwMode="gray">
              <a:xfrm flipV="1">
                <a:off x="1054" y="2382"/>
                <a:ext cx="543" cy="271"/>
              </a:xfrm>
              <a:prstGeom prst="triangle">
                <a:avLst>
                  <a:gd name="adj" fmla="val 50000"/>
                </a:avLst>
              </a:prstGeom>
              <a:gradFill rotWithShape="1">
                <a:gsLst>
                  <a:gs pos="0">
                    <a:srgbClr val="042544"/>
                  </a:gs>
                  <a:gs pos="100000">
                    <a:srgbClr val="085092"/>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rot="10800000" wrap="none" anchor="ctr"/>
              <a:lstStyle/>
              <a:p>
                <a:pPr fontAlgn="auto">
                  <a:spcBef>
                    <a:spcPts val="0"/>
                  </a:spcBef>
                  <a:spcAft>
                    <a:spcPts val="0"/>
                  </a:spcAft>
                  <a:defRPr/>
                </a:pPr>
                <a:endParaRPr lang="zh-CN" altLang="en-US">
                  <a:latin typeface="+mj-ea"/>
                  <a:ea typeface="+mj-ea"/>
                </a:endParaRPr>
              </a:p>
            </p:txBody>
          </p:sp>
        </p:grpSp>
        <p:grpSp>
          <p:nvGrpSpPr>
            <p:cNvPr id="25610" name="Group 25"/>
            <p:cNvGrpSpPr>
              <a:grpSpLocks/>
            </p:cNvGrpSpPr>
            <p:nvPr/>
          </p:nvGrpSpPr>
          <p:grpSpPr bwMode="auto">
            <a:xfrm rot="970257">
              <a:off x="4395788" y="2703515"/>
              <a:ext cx="1828800" cy="1800225"/>
              <a:chOff x="1349" y="2203"/>
              <a:chExt cx="924" cy="922"/>
            </a:xfrm>
          </p:grpSpPr>
          <p:sp>
            <p:nvSpPr>
              <p:cNvPr id="55" name="AutoShape 26"/>
              <p:cNvSpPr>
                <a:spLocks noChangeArrowheads="1"/>
              </p:cNvSpPr>
              <p:nvPr/>
            </p:nvSpPr>
            <p:spPr bwMode="gray">
              <a:xfrm>
                <a:off x="1344" y="2200"/>
                <a:ext cx="928" cy="923"/>
              </a:xfrm>
              <a:prstGeom prst="diamond">
                <a:avLst/>
              </a:prstGeom>
              <a:solidFill>
                <a:srgbClr val="5A9208"/>
              </a:solidFill>
              <a:ln w="57150" algn="ctr">
                <a:solidFill>
                  <a:srgbClr val="CDDCE9"/>
                </a:solidFill>
                <a:miter lim="800000"/>
                <a:headEnd/>
                <a:tailEnd/>
              </a:ln>
              <a:effectLst>
                <a:prstShdw prst="shdw17" dist="17961" dir="2700000">
                  <a:srgbClr val="CDDCE9">
                    <a:gamma/>
                    <a:shade val="60000"/>
                    <a:invGamma/>
                  </a:srgbClr>
                </a:prstShdw>
              </a:effectLst>
            </p:spPr>
            <p:txBody>
              <a:bodyPr wrap="none" anchor="ctr"/>
              <a:lstStyle/>
              <a:p>
                <a:pPr fontAlgn="auto">
                  <a:spcBef>
                    <a:spcPts val="0"/>
                  </a:spcBef>
                  <a:spcAft>
                    <a:spcPts val="0"/>
                  </a:spcAft>
                  <a:defRPr/>
                </a:pPr>
                <a:endParaRPr lang="zh-CN" altLang="en-US">
                  <a:latin typeface="+mj-ea"/>
                  <a:ea typeface="+mj-ea"/>
                </a:endParaRPr>
              </a:p>
            </p:txBody>
          </p:sp>
          <p:sp>
            <p:nvSpPr>
              <p:cNvPr id="56" name="AutoShape 27"/>
              <p:cNvSpPr>
                <a:spLocks noChangeArrowheads="1"/>
              </p:cNvSpPr>
              <p:nvPr/>
            </p:nvSpPr>
            <p:spPr bwMode="gray">
              <a:xfrm>
                <a:off x="1582" y="2219"/>
                <a:ext cx="447" cy="229"/>
              </a:xfrm>
              <a:prstGeom prst="triangle">
                <a:avLst>
                  <a:gd name="adj" fmla="val 50000"/>
                </a:avLst>
              </a:prstGeom>
              <a:gradFill rotWithShape="1">
                <a:gsLst>
                  <a:gs pos="0">
                    <a:srgbClr val="5A9208">
                      <a:gamma/>
                      <a:tint val="18039"/>
                      <a:invGamma/>
                    </a:srgbClr>
                  </a:gs>
                  <a:gs pos="100000">
                    <a:srgbClr val="5A9208"/>
                  </a:gs>
                </a:gsLst>
                <a:lin ang="5400000" scaled="1"/>
              </a:gradFill>
              <a:ln w="9525" algn="ctr">
                <a:noFill/>
                <a:miter lim="800000"/>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57" name="AutoShape 28"/>
              <p:cNvSpPr>
                <a:spLocks noChangeArrowheads="1"/>
              </p:cNvSpPr>
              <p:nvPr/>
            </p:nvSpPr>
            <p:spPr bwMode="gray">
              <a:xfrm flipV="1">
                <a:off x="1587" y="2877"/>
                <a:ext cx="430" cy="214"/>
              </a:xfrm>
              <a:prstGeom prst="triangle">
                <a:avLst>
                  <a:gd name="adj" fmla="val 50000"/>
                </a:avLst>
              </a:prstGeom>
              <a:gradFill rotWithShape="1">
                <a:gsLst>
                  <a:gs pos="0">
                    <a:srgbClr val="2A4404"/>
                  </a:gs>
                  <a:gs pos="100000">
                    <a:srgbClr val="5A9208"/>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rot="10800000" wrap="none" anchor="ctr"/>
              <a:lstStyle/>
              <a:p>
                <a:pPr fontAlgn="auto">
                  <a:spcBef>
                    <a:spcPts val="0"/>
                  </a:spcBef>
                  <a:spcAft>
                    <a:spcPts val="0"/>
                  </a:spcAft>
                  <a:defRPr/>
                </a:pPr>
                <a:endParaRPr lang="zh-CN" altLang="en-US">
                  <a:latin typeface="+mj-ea"/>
                  <a:ea typeface="+mj-ea"/>
                </a:endParaRPr>
              </a:p>
            </p:txBody>
          </p:sp>
        </p:grpSp>
        <p:sp>
          <p:nvSpPr>
            <p:cNvPr id="10" name="Rectangle 29"/>
            <p:cNvSpPr>
              <a:spLocks noChangeArrowheads="1"/>
            </p:cNvSpPr>
            <p:nvPr/>
          </p:nvSpPr>
          <p:spPr bwMode="gray">
            <a:xfrm>
              <a:off x="2770759" y="3140696"/>
              <a:ext cx="1155089" cy="498477"/>
            </a:xfrm>
            <a:prstGeom prst="rect">
              <a:avLst/>
            </a:prstGeom>
            <a:noFill/>
            <a:ln w="9525" algn="ctr">
              <a:noFill/>
              <a:miter lim="800000"/>
              <a:headEnd/>
              <a:tailEnd/>
            </a:ln>
            <a:effectLst/>
          </p:spPr>
          <p:txBody>
            <a:bodyPr>
              <a:spAutoFit/>
            </a:bodyPr>
            <a:lstStyle/>
            <a:p>
              <a:pPr algn="ctr" fontAlgn="auto">
                <a:spcBef>
                  <a:spcPts val="0"/>
                </a:spcBef>
                <a:spcAft>
                  <a:spcPts val="0"/>
                </a:spcAft>
                <a:defRPr/>
              </a:pPr>
              <a:r>
                <a:rPr lang="zh-CN" altLang="en-US" sz="1400" dirty="0">
                  <a:solidFill>
                    <a:schemeClr val="bg1"/>
                  </a:solidFill>
                  <a:latin typeface="+mj-ea"/>
                  <a:ea typeface="+mj-ea"/>
                </a:rPr>
                <a:t>低成本</a:t>
              </a:r>
              <a:endParaRPr lang="en-US" altLang="zh-CN" sz="1400" dirty="0">
                <a:solidFill>
                  <a:schemeClr val="bg1"/>
                </a:solidFill>
                <a:latin typeface="+mj-ea"/>
                <a:ea typeface="+mj-ea"/>
              </a:endParaRPr>
            </a:p>
          </p:txBody>
        </p:sp>
        <p:sp>
          <p:nvSpPr>
            <p:cNvPr id="11" name="Rectangle 30"/>
            <p:cNvSpPr>
              <a:spLocks noChangeArrowheads="1"/>
            </p:cNvSpPr>
            <p:nvPr/>
          </p:nvSpPr>
          <p:spPr bwMode="gray">
            <a:xfrm>
              <a:off x="4689808" y="3109542"/>
              <a:ext cx="1230569" cy="498477"/>
            </a:xfrm>
            <a:prstGeom prst="rect">
              <a:avLst/>
            </a:prstGeom>
            <a:noFill/>
            <a:ln w="9525" algn="ctr">
              <a:noFill/>
              <a:miter lim="800000"/>
              <a:headEnd/>
              <a:tailEnd/>
            </a:ln>
            <a:effectLst/>
          </p:spPr>
          <p:txBody>
            <a:bodyPr>
              <a:spAutoFit/>
            </a:bodyPr>
            <a:lstStyle/>
            <a:p>
              <a:pPr algn="ctr" fontAlgn="auto">
                <a:spcBef>
                  <a:spcPts val="0"/>
                </a:spcBef>
                <a:spcAft>
                  <a:spcPts val="0"/>
                </a:spcAft>
                <a:defRPr/>
              </a:pPr>
              <a:r>
                <a:rPr lang="zh-CN" altLang="en-US" sz="1400" dirty="0">
                  <a:solidFill>
                    <a:schemeClr val="bg1"/>
                  </a:solidFill>
                  <a:latin typeface="+mj-ea"/>
                  <a:ea typeface="+mj-ea"/>
                </a:rPr>
                <a:t>标准化</a:t>
              </a:r>
              <a:endParaRPr lang="en-US" altLang="zh-CN" sz="1400" dirty="0">
                <a:solidFill>
                  <a:schemeClr val="bg1"/>
                </a:solidFill>
                <a:latin typeface="+mj-ea"/>
                <a:ea typeface="+mj-ea"/>
              </a:endParaRPr>
            </a:p>
          </p:txBody>
        </p:sp>
        <p:sp>
          <p:nvSpPr>
            <p:cNvPr id="12" name="Rectangle 31"/>
            <p:cNvSpPr>
              <a:spLocks noChangeArrowheads="1"/>
            </p:cNvSpPr>
            <p:nvPr/>
          </p:nvSpPr>
          <p:spPr bwMode="gray">
            <a:xfrm>
              <a:off x="3790897" y="4480353"/>
              <a:ext cx="1095619" cy="498477"/>
            </a:xfrm>
            <a:prstGeom prst="rect">
              <a:avLst/>
            </a:prstGeom>
            <a:noFill/>
            <a:ln w="9525" algn="ctr">
              <a:noFill/>
              <a:miter lim="800000"/>
              <a:headEnd/>
              <a:tailEnd/>
            </a:ln>
            <a:effectLst/>
          </p:spPr>
          <p:txBody>
            <a:bodyPr>
              <a:spAutoFit/>
            </a:bodyPr>
            <a:lstStyle/>
            <a:p>
              <a:pPr algn="ctr" fontAlgn="auto">
                <a:spcBef>
                  <a:spcPts val="0"/>
                </a:spcBef>
                <a:spcAft>
                  <a:spcPts val="0"/>
                </a:spcAft>
                <a:defRPr/>
              </a:pPr>
              <a:r>
                <a:rPr lang="zh-CN" altLang="en-US" sz="1400" dirty="0">
                  <a:solidFill>
                    <a:schemeClr val="bg1"/>
                  </a:solidFill>
                  <a:latin typeface="+mj-ea"/>
                  <a:ea typeface="+mj-ea"/>
                </a:rPr>
                <a:t>可扩展</a:t>
              </a:r>
              <a:endParaRPr lang="en-US" altLang="zh-CN" sz="1400" dirty="0">
                <a:solidFill>
                  <a:schemeClr val="bg1"/>
                </a:solidFill>
                <a:latin typeface="+mj-ea"/>
                <a:ea typeface="+mj-ea"/>
              </a:endParaRPr>
            </a:p>
          </p:txBody>
        </p:sp>
        <p:grpSp>
          <p:nvGrpSpPr>
            <p:cNvPr id="25614" name="Group 32"/>
            <p:cNvGrpSpPr>
              <a:grpSpLocks/>
            </p:cNvGrpSpPr>
            <p:nvPr/>
          </p:nvGrpSpPr>
          <p:grpSpPr bwMode="auto">
            <a:xfrm rot="970257">
              <a:off x="4139952" y="2796483"/>
              <a:ext cx="393700" cy="396875"/>
              <a:chOff x="523" y="2809"/>
              <a:chExt cx="876" cy="882"/>
            </a:xfrm>
          </p:grpSpPr>
          <p:sp>
            <p:nvSpPr>
              <p:cNvPr id="48" name="Oval 33"/>
              <p:cNvSpPr>
                <a:spLocks noChangeArrowheads="1"/>
              </p:cNvSpPr>
              <p:nvPr/>
            </p:nvSpPr>
            <p:spPr bwMode="gray">
              <a:xfrm>
                <a:off x="528" y="2795"/>
                <a:ext cx="865" cy="894"/>
              </a:xfrm>
              <a:prstGeom prst="ellipse">
                <a:avLst/>
              </a:prstGeom>
              <a:noFill/>
              <a:ln w="19050" algn="ctr">
                <a:solidFill>
                  <a:srgbClr val="FFFFFF">
                    <a:alpha val="30000"/>
                  </a:srgbClr>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49" name="Line 34"/>
              <p:cNvSpPr>
                <a:spLocks noChangeShapeType="1"/>
              </p:cNvSpPr>
              <p:nvPr/>
            </p:nvSpPr>
            <p:spPr bwMode="gray">
              <a:xfrm>
                <a:off x="960" y="2783"/>
                <a:ext cx="0" cy="871"/>
              </a:xfrm>
              <a:prstGeom prst="line">
                <a:avLst/>
              </a:prstGeom>
              <a:noFill/>
              <a:ln w="19050">
                <a:solidFill>
                  <a:srgbClr val="FFFFFF">
                    <a:alpha val="30000"/>
                  </a:srgbClr>
                </a:solidFill>
                <a:round/>
                <a:headEnd/>
                <a:tailEnd/>
              </a:ln>
              <a:effectLst/>
            </p:spPr>
            <p:txBody>
              <a:bodyPr/>
              <a:lstStyle/>
              <a:p>
                <a:pPr fontAlgn="auto">
                  <a:spcBef>
                    <a:spcPts val="0"/>
                  </a:spcBef>
                  <a:spcAft>
                    <a:spcPts val="0"/>
                  </a:spcAft>
                  <a:defRPr/>
                </a:pPr>
                <a:endParaRPr lang="zh-CN" altLang="en-US">
                  <a:latin typeface="+mj-ea"/>
                  <a:ea typeface="+mj-ea"/>
                </a:endParaRPr>
              </a:p>
            </p:txBody>
          </p:sp>
          <p:sp>
            <p:nvSpPr>
              <p:cNvPr id="50" name="Line 35"/>
              <p:cNvSpPr>
                <a:spLocks noChangeShapeType="1"/>
              </p:cNvSpPr>
              <p:nvPr/>
            </p:nvSpPr>
            <p:spPr bwMode="gray">
              <a:xfrm>
                <a:off x="519" y="3227"/>
                <a:ext cx="850" cy="0"/>
              </a:xfrm>
              <a:prstGeom prst="line">
                <a:avLst/>
              </a:prstGeom>
              <a:noFill/>
              <a:ln w="19050">
                <a:solidFill>
                  <a:srgbClr val="FFFFFF">
                    <a:alpha val="30000"/>
                  </a:srgbClr>
                </a:solidFill>
                <a:round/>
                <a:headEnd/>
                <a:tailEnd/>
              </a:ln>
              <a:effectLst/>
            </p:spPr>
            <p:txBody>
              <a:bodyPr/>
              <a:lstStyle/>
              <a:p>
                <a:pPr fontAlgn="auto">
                  <a:spcBef>
                    <a:spcPts val="0"/>
                  </a:spcBef>
                  <a:spcAft>
                    <a:spcPts val="0"/>
                  </a:spcAft>
                  <a:defRPr/>
                </a:pPr>
                <a:endParaRPr lang="zh-CN" altLang="en-US">
                  <a:latin typeface="+mj-ea"/>
                  <a:ea typeface="+mj-ea"/>
                </a:endParaRPr>
              </a:p>
            </p:txBody>
          </p:sp>
          <p:sp>
            <p:nvSpPr>
              <p:cNvPr id="51" name="Freeform 36"/>
              <p:cNvSpPr>
                <a:spLocks/>
              </p:cNvSpPr>
              <p:nvPr/>
            </p:nvSpPr>
            <p:spPr bwMode="gray">
              <a:xfrm>
                <a:off x="1012" y="2784"/>
                <a:ext cx="178" cy="871"/>
              </a:xfrm>
              <a:custGeom>
                <a:avLst/>
                <a:gdLst/>
                <a:ahLst/>
                <a:cxnLst>
                  <a:cxn ang="0">
                    <a:pos x="0" y="0"/>
                  </a:cxn>
                  <a:cxn ang="0">
                    <a:pos x="182" y="435"/>
                  </a:cxn>
                  <a:cxn ang="0">
                    <a:pos x="6" y="864"/>
                  </a:cxn>
                </a:cxnLst>
                <a:rect l="0" t="0" r="r" b="b"/>
                <a:pathLst>
                  <a:path w="182" h="864">
                    <a:moveTo>
                      <a:pt x="0" y="0"/>
                    </a:moveTo>
                    <a:cubicBezTo>
                      <a:pt x="59" y="89"/>
                      <a:pt x="182" y="177"/>
                      <a:pt x="182" y="435"/>
                    </a:cubicBezTo>
                    <a:cubicBezTo>
                      <a:pt x="182" y="693"/>
                      <a:pt x="70" y="800"/>
                      <a:pt x="6" y="864"/>
                    </a:cubicBezTo>
                  </a:path>
                </a:pathLst>
              </a:custGeom>
              <a:noFill/>
              <a:ln w="19050" cap="flat" cmpd="sng">
                <a:solidFill>
                  <a:srgbClr val="FFFFFF">
                    <a:alpha val="30000"/>
                  </a:srgbClr>
                </a:solidFill>
                <a:prstDash val="solid"/>
                <a:round/>
                <a:headEnd type="none" w="med" len="med"/>
                <a:tailEnd type="none" w="med" len="med"/>
              </a:ln>
              <a:effectLst/>
            </p:spPr>
            <p:txBody>
              <a:bodyPr/>
              <a:lstStyle/>
              <a:p>
                <a:pPr fontAlgn="auto">
                  <a:spcBef>
                    <a:spcPts val="0"/>
                  </a:spcBef>
                  <a:spcAft>
                    <a:spcPts val="0"/>
                  </a:spcAft>
                  <a:defRPr/>
                </a:pPr>
                <a:endParaRPr lang="zh-CN" altLang="en-US">
                  <a:latin typeface="+mj-ea"/>
                  <a:ea typeface="+mj-ea"/>
                </a:endParaRPr>
              </a:p>
            </p:txBody>
          </p:sp>
          <p:sp>
            <p:nvSpPr>
              <p:cNvPr id="52" name="Freeform 37"/>
              <p:cNvSpPr>
                <a:spLocks/>
              </p:cNvSpPr>
              <p:nvPr/>
            </p:nvSpPr>
            <p:spPr bwMode="gray">
              <a:xfrm>
                <a:off x="714" y="2796"/>
                <a:ext cx="193" cy="877"/>
              </a:xfrm>
              <a:custGeom>
                <a:avLst/>
                <a:gdLst/>
                <a:ahLst/>
                <a:cxnLst>
                  <a:cxn ang="0">
                    <a:pos x="167" y="0"/>
                  </a:cxn>
                  <a:cxn ang="0">
                    <a:pos x="0" y="436"/>
                  </a:cxn>
                  <a:cxn ang="0">
                    <a:pos x="197" y="870"/>
                  </a:cxn>
                </a:cxnLst>
                <a:rect l="0" t="0" r="r" b="b"/>
                <a:pathLst>
                  <a:path w="197" h="870">
                    <a:moveTo>
                      <a:pt x="167" y="0"/>
                    </a:moveTo>
                    <a:cubicBezTo>
                      <a:pt x="117" y="64"/>
                      <a:pt x="0" y="178"/>
                      <a:pt x="0" y="436"/>
                    </a:cubicBezTo>
                    <a:cubicBezTo>
                      <a:pt x="0" y="694"/>
                      <a:pt x="124" y="769"/>
                      <a:pt x="197" y="870"/>
                    </a:cubicBezTo>
                  </a:path>
                </a:pathLst>
              </a:custGeom>
              <a:noFill/>
              <a:ln w="19050" cap="flat" cmpd="sng">
                <a:solidFill>
                  <a:srgbClr val="FFFFFF">
                    <a:alpha val="30000"/>
                  </a:srgbClr>
                </a:solidFill>
                <a:prstDash val="solid"/>
                <a:round/>
                <a:headEnd type="none" w="med" len="med"/>
                <a:tailEnd type="none" w="med" len="med"/>
              </a:ln>
              <a:effectLst/>
            </p:spPr>
            <p:txBody>
              <a:bodyPr/>
              <a:lstStyle/>
              <a:p>
                <a:pPr fontAlgn="auto">
                  <a:spcBef>
                    <a:spcPts val="0"/>
                  </a:spcBef>
                  <a:spcAft>
                    <a:spcPts val="0"/>
                  </a:spcAft>
                  <a:defRPr/>
                </a:pPr>
                <a:endParaRPr lang="zh-CN" altLang="en-US">
                  <a:latin typeface="+mj-ea"/>
                  <a:ea typeface="+mj-ea"/>
                </a:endParaRPr>
              </a:p>
            </p:txBody>
          </p:sp>
          <p:sp>
            <p:nvSpPr>
              <p:cNvPr id="53" name="Freeform 38"/>
              <p:cNvSpPr>
                <a:spLocks/>
              </p:cNvSpPr>
              <p:nvPr/>
            </p:nvSpPr>
            <p:spPr bwMode="gray">
              <a:xfrm rot="5400000">
                <a:off x="880" y="3152"/>
                <a:ext cx="115" cy="646"/>
              </a:xfrm>
              <a:custGeom>
                <a:avLst/>
                <a:gdLst>
                  <a:gd name="T0" fmla="*/ 167 w 197"/>
                  <a:gd name="T1" fmla="*/ 0 h 870"/>
                  <a:gd name="T2" fmla="*/ 0 w 197"/>
                  <a:gd name="T3" fmla="*/ 436 h 870"/>
                  <a:gd name="T4" fmla="*/ 197 w 197"/>
                  <a:gd name="T5" fmla="*/ 870 h 870"/>
                  <a:gd name="T6" fmla="*/ 0 60000 65536"/>
                  <a:gd name="T7" fmla="*/ 0 60000 65536"/>
                  <a:gd name="T8" fmla="*/ 0 60000 65536"/>
                  <a:gd name="T9" fmla="*/ 0 w 197"/>
                  <a:gd name="T10" fmla="*/ 0 h 870"/>
                  <a:gd name="T11" fmla="*/ 197 w 197"/>
                  <a:gd name="T12" fmla="*/ 870 h 870"/>
                </a:gdLst>
                <a:ahLst/>
                <a:cxnLst>
                  <a:cxn ang="T6">
                    <a:pos x="T0" y="T1"/>
                  </a:cxn>
                  <a:cxn ang="T7">
                    <a:pos x="T2" y="T3"/>
                  </a:cxn>
                  <a:cxn ang="T8">
                    <a:pos x="T4" y="T5"/>
                  </a:cxn>
                </a:cxnLst>
                <a:rect l="T9" t="T10" r="T11" b="T12"/>
                <a:pathLst>
                  <a:path w="197" h="870">
                    <a:moveTo>
                      <a:pt x="167" y="0"/>
                    </a:moveTo>
                    <a:cubicBezTo>
                      <a:pt x="117" y="64"/>
                      <a:pt x="0" y="178"/>
                      <a:pt x="0" y="436"/>
                    </a:cubicBezTo>
                    <a:cubicBezTo>
                      <a:pt x="0" y="694"/>
                      <a:pt x="124" y="769"/>
                      <a:pt x="197" y="870"/>
                    </a:cubicBezTo>
                  </a:path>
                </a:pathLst>
              </a:custGeom>
              <a:noFill/>
              <a:ln w="19050">
                <a:solidFill>
                  <a:srgbClr val="FFFFFF">
                    <a:alpha val="30196"/>
                  </a:srgbClr>
                </a:solidFill>
                <a:round/>
                <a:headEnd/>
                <a:tailEnd/>
              </a:ln>
              <a:extLst>
                <a:ext uri="{909E8E84-426E-40DD-AFC4-6F175D3DCCD1}">
                  <a14:hiddenFill xmlns:a14="http://schemas.microsoft.com/office/drawing/2010/main">
                    <a:solidFill>
                      <a:srgbClr val="FFFFFF"/>
                    </a:solidFill>
                  </a14:hiddenFill>
                </a:ext>
              </a:extLst>
            </p:spPr>
            <p:txBody>
              <a:bodyPr rot="10800000" vert="eaVert"/>
              <a:lstStyle/>
              <a:p>
                <a:pPr fontAlgn="auto">
                  <a:spcBef>
                    <a:spcPts val="0"/>
                  </a:spcBef>
                  <a:spcAft>
                    <a:spcPts val="0"/>
                  </a:spcAft>
                  <a:defRPr/>
                </a:pPr>
                <a:endParaRPr lang="zh-CN" altLang="en-US">
                  <a:latin typeface="+mj-ea"/>
                  <a:ea typeface="+mj-ea"/>
                </a:endParaRPr>
              </a:p>
            </p:txBody>
          </p:sp>
          <p:sp>
            <p:nvSpPr>
              <p:cNvPr id="54" name="Freeform 39"/>
              <p:cNvSpPr>
                <a:spLocks/>
              </p:cNvSpPr>
              <p:nvPr/>
            </p:nvSpPr>
            <p:spPr bwMode="gray">
              <a:xfrm rot="16200000" flipV="1">
                <a:off x="870" y="2651"/>
                <a:ext cx="121" cy="636"/>
              </a:xfrm>
              <a:custGeom>
                <a:avLst/>
                <a:gdLst>
                  <a:gd name="T0" fmla="*/ 167 w 197"/>
                  <a:gd name="T1" fmla="*/ 0 h 870"/>
                  <a:gd name="T2" fmla="*/ 0 w 197"/>
                  <a:gd name="T3" fmla="*/ 436 h 870"/>
                  <a:gd name="T4" fmla="*/ 197 w 197"/>
                  <a:gd name="T5" fmla="*/ 870 h 870"/>
                  <a:gd name="T6" fmla="*/ 0 60000 65536"/>
                  <a:gd name="T7" fmla="*/ 0 60000 65536"/>
                  <a:gd name="T8" fmla="*/ 0 60000 65536"/>
                  <a:gd name="T9" fmla="*/ 0 w 197"/>
                  <a:gd name="T10" fmla="*/ 0 h 870"/>
                  <a:gd name="T11" fmla="*/ 197 w 197"/>
                  <a:gd name="T12" fmla="*/ 870 h 870"/>
                </a:gdLst>
                <a:ahLst/>
                <a:cxnLst>
                  <a:cxn ang="T6">
                    <a:pos x="T0" y="T1"/>
                  </a:cxn>
                  <a:cxn ang="T7">
                    <a:pos x="T2" y="T3"/>
                  </a:cxn>
                  <a:cxn ang="T8">
                    <a:pos x="T4" y="T5"/>
                  </a:cxn>
                </a:cxnLst>
                <a:rect l="T9" t="T10" r="T11" b="T12"/>
                <a:pathLst>
                  <a:path w="197" h="870">
                    <a:moveTo>
                      <a:pt x="167" y="0"/>
                    </a:moveTo>
                    <a:cubicBezTo>
                      <a:pt x="117" y="64"/>
                      <a:pt x="0" y="178"/>
                      <a:pt x="0" y="436"/>
                    </a:cubicBezTo>
                    <a:cubicBezTo>
                      <a:pt x="0" y="694"/>
                      <a:pt x="124" y="769"/>
                      <a:pt x="197" y="870"/>
                    </a:cubicBezTo>
                  </a:path>
                </a:pathLst>
              </a:custGeom>
              <a:noFill/>
              <a:ln w="19050">
                <a:solidFill>
                  <a:srgbClr val="FFFFFF">
                    <a:alpha val="30196"/>
                  </a:srgbClr>
                </a:solidFill>
                <a:round/>
                <a:headEnd/>
                <a:tailEnd/>
              </a:ln>
              <a:extLst>
                <a:ext uri="{909E8E84-426E-40DD-AFC4-6F175D3DCCD1}">
                  <a14:hiddenFill xmlns:a14="http://schemas.microsoft.com/office/drawing/2010/main">
                    <a:solidFill>
                      <a:srgbClr val="FFFFFF"/>
                    </a:solidFill>
                  </a14:hiddenFill>
                </a:ext>
              </a:extLst>
            </p:spPr>
            <p:txBody>
              <a:bodyPr rot="10800000" vert="eaVert"/>
              <a:lstStyle/>
              <a:p>
                <a:pPr fontAlgn="auto">
                  <a:spcBef>
                    <a:spcPts val="0"/>
                  </a:spcBef>
                  <a:spcAft>
                    <a:spcPts val="0"/>
                  </a:spcAft>
                  <a:defRPr/>
                </a:pPr>
                <a:endParaRPr lang="zh-CN" altLang="en-US">
                  <a:latin typeface="+mj-ea"/>
                  <a:ea typeface="+mj-ea"/>
                </a:endParaRPr>
              </a:p>
            </p:txBody>
          </p:sp>
        </p:grpSp>
        <p:grpSp>
          <p:nvGrpSpPr>
            <p:cNvPr id="25615" name="Group 40"/>
            <p:cNvGrpSpPr>
              <a:grpSpLocks/>
            </p:cNvGrpSpPr>
            <p:nvPr/>
          </p:nvGrpSpPr>
          <p:grpSpPr bwMode="auto">
            <a:xfrm rot="970257">
              <a:off x="5008563" y="3790953"/>
              <a:ext cx="603250" cy="384175"/>
              <a:chOff x="3824" y="1835"/>
              <a:chExt cx="491" cy="312"/>
            </a:xfrm>
          </p:grpSpPr>
          <p:grpSp>
            <p:nvGrpSpPr>
              <p:cNvPr id="25644" name="Group 41"/>
              <p:cNvGrpSpPr>
                <a:grpSpLocks/>
              </p:cNvGrpSpPr>
              <p:nvPr/>
            </p:nvGrpSpPr>
            <p:grpSpPr bwMode="auto">
              <a:xfrm>
                <a:off x="3824" y="1835"/>
                <a:ext cx="491" cy="312"/>
                <a:chOff x="347" y="2022"/>
                <a:chExt cx="491" cy="312"/>
              </a:xfrm>
            </p:grpSpPr>
            <p:sp>
              <p:nvSpPr>
                <p:cNvPr id="45" name="Freeform 42"/>
                <p:cNvSpPr>
                  <a:spLocks/>
                </p:cNvSpPr>
                <p:nvPr/>
              </p:nvSpPr>
              <p:spPr bwMode="gray">
                <a:xfrm>
                  <a:off x="337" y="2015"/>
                  <a:ext cx="491" cy="312"/>
                </a:xfrm>
                <a:custGeom>
                  <a:avLst/>
                  <a:gdLst/>
                  <a:ahLst/>
                  <a:cxnLst>
                    <a:cxn ang="0">
                      <a:pos x="9" y="96"/>
                    </a:cxn>
                    <a:cxn ang="0">
                      <a:pos x="10" y="159"/>
                    </a:cxn>
                    <a:cxn ang="0">
                      <a:pos x="288" y="312"/>
                    </a:cxn>
                    <a:cxn ang="0">
                      <a:pos x="486" y="184"/>
                    </a:cxn>
                    <a:cxn ang="0">
                      <a:pos x="303" y="302"/>
                    </a:cxn>
                    <a:cxn ang="0">
                      <a:pos x="283" y="246"/>
                    </a:cxn>
                    <a:cxn ang="0">
                      <a:pos x="480" y="128"/>
                    </a:cxn>
                    <a:cxn ang="0">
                      <a:pos x="202" y="0"/>
                    </a:cxn>
                    <a:cxn ang="0">
                      <a:pos x="9" y="96"/>
                    </a:cxn>
                  </a:cxnLst>
                  <a:rect l="0" t="0" r="r" b="b"/>
                  <a:pathLst>
                    <a:path w="491" h="312">
                      <a:moveTo>
                        <a:pt x="9" y="96"/>
                      </a:moveTo>
                      <a:cubicBezTo>
                        <a:pt x="0" y="133"/>
                        <a:pt x="1" y="139"/>
                        <a:pt x="10" y="159"/>
                      </a:cubicBezTo>
                      <a:cubicBezTo>
                        <a:pt x="57" y="195"/>
                        <a:pt x="255" y="300"/>
                        <a:pt x="288" y="312"/>
                      </a:cubicBezTo>
                      <a:cubicBezTo>
                        <a:pt x="346" y="289"/>
                        <a:pt x="457" y="207"/>
                        <a:pt x="486" y="184"/>
                      </a:cubicBezTo>
                      <a:cubicBezTo>
                        <a:pt x="491" y="173"/>
                        <a:pt x="337" y="292"/>
                        <a:pt x="303" y="302"/>
                      </a:cubicBezTo>
                      <a:cubicBezTo>
                        <a:pt x="296" y="310"/>
                        <a:pt x="254" y="274"/>
                        <a:pt x="283" y="246"/>
                      </a:cubicBezTo>
                      <a:cubicBezTo>
                        <a:pt x="338" y="217"/>
                        <a:pt x="378" y="180"/>
                        <a:pt x="480" y="128"/>
                      </a:cubicBezTo>
                      <a:cubicBezTo>
                        <a:pt x="343" y="66"/>
                        <a:pt x="288" y="30"/>
                        <a:pt x="202" y="0"/>
                      </a:cubicBezTo>
                      <a:cubicBezTo>
                        <a:pt x="100" y="33"/>
                        <a:pt x="46" y="75"/>
                        <a:pt x="9" y="96"/>
                      </a:cubicBezTo>
                      <a:close/>
                    </a:path>
                  </a:pathLst>
                </a:custGeom>
                <a:solidFill>
                  <a:schemeClr val="tx1">
                    <a:alpha val="24001"/>
                  </a:schemeClr>
                </a:solidFill>
                <a:ln w="19050" cap="flat" cmpd="sng">
                  <a:solidFill>
                    <a:srgbClr val="FFFFFF">
                      <a:alpha val="35001"/>
                    </a:srgbClr>
                  </a:solidFill>
                  <a:prstDash val="solid"/>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46" name="Freeform 43"/>
                <p:cNvSpPr>
                  <a:spLocks/>
                </p:cNvSpPr>
                <p:nvPr/>
              </p:nvSpPr>
              <p:spPr bwMode="gray">
                <a:xfrm>
                  <a:off x="598" y="2144"/>
                  <a:ext cx="214" cy="171"/>
                </a:xfrm>
                <a:custGeom>
                  <a:avLst/>
                  <a:gdLst/>
                  <a:ahLst/>
                  <a:cxnLst>
                    <a:cxn ang="0">
                      <a:pos x="15" y="117"/>
                    </a:cxn>
                    <a:cxn ang="0">
                      <a:pos x="23" y="171"/>
                    </a:cxn>
                    <a:cxn ang="0">
                      <a:pos x="215" y="48"/>
                    </a:cxn>
                    <a:cxn ang="0">
                      <a:pos x="203" y="0"/>
                    </a:cxn>
                    <a:cxn ang="0">
                      <a:pos x="15" y="117"/>
                    </a:cxn>
                  </a:cxnLst>
                  <a:rect l="0" t="0" r="r" b="b"/>
                  <a:pathLst>
                    <a:path w="215" h="171">
                      <a:moveTo>
                        <a:pt x="15" y="117"/>
                      </a:moveTo>
                      <a:cubicBezTo>
                        <a:pt x="9" y="129"/>
                        <a:pt x="0" y="154"/>
                        <a:pt x="23" y="171"/>
                      </a:cubicBezTo>
                      <a:cubicBezTo>
                        <a:pt x="45" y="166"/>
                        <a:pt x="185" y="77"/>
                        <a:pt x="215" y="48"/>
                      </a:cubicBezTo>
                      <a:cubicBezTo>
                        <a:pt x="215" y="32"/>
                        <a:pt x="207" y="32"/>
                        <a:pt x="203" y="0"/>
                      </a:cubicBezTo>
                      <a:cubicBezTo>
                        <a:pt x="125" y="42"/>
                        <a:pt x="56" y="87"/>
                        <a:pt x="15" y="117"/>
                      </a:cubicBezTo>
                      <a:close/>
                    </a:path>
                  </a:pathLst>
                </a:custGeom>
                <a:noFill/>
                <a:ln w="19050" cap="flat" cmpd="sng">
                  <a:solidFill>
                    <a:srgbClr val="FFFFFF">
                      <a:alpha val="35001"/>
                    </a:srgbClr>
                  </a:solidFill>
                  <a:prstDash val="solid"/>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47" name="Line 44"/>
                <p:cNvSpPr>
                  <a:spLocks noChangeShapeType="1"/>
                </p:cNvSpPr>
                <p:nvPr/>
              </p:nvSpPr>
              <p:spPr bwMode="gray">
                <a:xfrm>
                  <a:off x="357" y="2117"/>
                  <a:ext cx="253" cy="137"/>
                </a:xfrm>
                <a:prstGeom prst="line">
                  <a:avLst/>
                </a:prstGeom>
                <a:noFill/>
                <a:ln w="19050">
                  <a:solidFill>
                    <a:srgbClr val="FFFFFF">
                      <a:alpha val="35001"/>
                    </a:srgbClr>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grpSp>
          <p:sp>
            <p:nvSpPr>
              <p:cNvPr id="44" name="Freeform 45"/>
              <p:cNvSpPr>
                <a:spLocks/>
              </p:cNvSpPr>
              <p:nvPr/>
            </p:nvSpPr>
            <p:spPr bwMode="gray">
              <a:xfrm>
                <a:off x="4159" y="2061"/>
                <a:ext cx="47" cy="42"/>
              </a:xfrm>
              <a:custGeom>
                <a:avLst/>
                <a:gdLst/>
                <a:ahLst/>
                <a:cxnLst>
                  <a:cxn ang="0">
                    <a:pos x="0" y="14"/>
                  </a:cxn>
                  <a:cxn ang="0">
                    <a:pos x="18" y="0"/>
                  </a:cxn>
                  <a:cxn ang="0">
                    <a:pos x="48" y="26"/>
                  </a:cxn>
                  <a:cxn ang="0">
                    <a:pos x="27" y="44"/>
                  </a:cxn>
                  <a:cxn ang="0">
                    <a:pos x="0" y="14"/>
                  </a:cxn>
                </a:cxnLst>
                <a:rect l="0" t="0" r="r" b="b"/>
                <a:pathLst>
                  <a:path w="48" h="44">
                    <a:moveTo>
                      <a:pt x="0" y="14"/>
                    </a:moveTo>
                    <a:lnTo>
                      <a:pt x="18" y="0"/>
                    </a:lnTo>
                    <a:lnTo>
                      <a:pt x="48" y="26"/>
                    </a:lnTo>
                    <a:lnTo>
                      <a:pt x="27" y="44"/>
                    </a:lnTo>
                    <a:lnTo>
                      <a:pt x="0" y="14"/>
                    </a:lnTo>
                    <a:close/>
                  </a:path>
                </a:pathLst>
              </a:custGeom>
              <a:solidFill>
                <a:schemeClr val="tx1">
                  <a:alpha val="24001"/>
                </a:schemeClr>
              </a:solidFill>
              <a:ln w="19050" cap="flat" cmpd="sng">
                <a:solidFill>
                  <a:schemeClr val="tx1">
                    <a:alpha val="35001"/>
                  </a:schemeClr>
                </a:solidFill>
                <a:prstDash val="solid"/>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grpSp>
        <p:grpSp>
          <p:nvGrpSpPr>
            <p:cNvPr id="25616" name="Group 46"/>
            <p:cNvGrpSpPr>
              <a:grpSpLocks/>
            </p:cNvGrpSpPr>
            <p:nvPr/>
          </p:nvGrpSpPr>
          <p:grpSpPr bwMode="auto">
            <a:xfrm rot="970257">
              <a:off x="4133850" y="4030665"/>
              <a:ext cx="358775" cy="390525"/>
              <a:chOff x="173" y="1670"/>
              <a:chExt cx="676" cy="727"/>
            </a:xfrm>
          </p:grpSpPr>
          <p:sp>
            <p:nvSpPr>
              <p:cNvPr id="26" name="Oval 47"/>
              <p:cNvSpPr>
                <a:spLocks noChangeArrowheads="1"/>
              </p:cNvSpPr>
              <p:nvPr/>
            </p:nvSpPr>
            <p:spPr bwMode="gray">
              <a:xfrm>
                <a:off x="435" y="1670"/>
                <a:ext cx="112" cy="101"/>
              </a:xfrm>
              <a:prstGeom prst="ellipse">
                <a:avLst/>
              </a:prstGeom>
              <a:solidFill>
                <a:srgbClr val="FFFFFF">
                  <a:alpha val="64999"/>
                </a:srgbClr>
              </a:solidFill>
              <a:ln w="9525" algn="ctr">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27" name="Oval 48"/>
              <p:cNvSpPr>
                <a:spLocks noChangeArrowheads="1"/>
              </p:cNvSpPr>
              <p:nvPr/>
            </p:nvSpPr>
            <p:spPr bwMode="gray">
              <a:xfrm>
                <a:off x="248" y="1945"/>
                <a:ext cx="159" cy="140"/>
              </a:xfrm>
              <a:prstGeom prst="ellipse">
                <a:avLst/>
              </a:prstGeom>
              <a:solidFill>
                <a:srgbClr val="FFFFFF">
                  <a:alpha val="64999"/>
                </a:srgbClr>
              </a:solidFill>
              <a:ln w="9525" algn="ctr">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28" name="Oval 49"/>
              <p:cNvSpPr>
                <a:spLocks noChangeArrowheads="1"/>
              </p:cNvSpPr>
              <p:nvPr/>
            </p:nvSpPr>
            <p:spPr bwMode="gray">
              <a:xfrm>
                <a:off x="543" y="1838"/>
                <a:ext cx="129" cy="111"/>
              </a:xfrm>
              <a:prstGeom prst="ellipse">
                <a:avLst/>
              </a:prstGeom>
              <a:solidFill>
                <a:srgbClr val="FFFFFF">
                  <a:alpha val="64999"/>
                </a:srgbClr>
              </a:solidFill>
              <a:ln w="9525" algn="ctr">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29" name="Oval 50"/>
              <p:cNvSpPr>
                <a:spLocks noChangeArrowheads="1"/>
              </p:cNvSpPr>
              <p:nvPr/>
            </p:nvSpPr>
            <p:spPr bwMode="gray">
              <a:xfrm>
                <a:off x="296" y="2293"/>
                <a:ext cx="82" cy="72"/>
              </a:xfrm>
              <a:prstGeom prst="ellipse">
                <a:avLst/>
              </a:prstGeom>
              <a:solidFill>
                <a:srgbClr val="FFFFFF">
                  <a:alpha val="64999"/>
                </a:srgbClr>
              </a:solidFill>
              <a:ln w="9525" algn="ctr">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30" name="Line 51"/>
              <p:cNvSpPr>
                <a:spLocks noChangeShapeType="1"/>
              </p:cNvSpPr>
              <p:nvPr/>
            </p:nvSpPr>
            <p:spPr bwMode="gray">
              <a:xfrm>
                <a:off x="338" y="2084"/>
                <a:ext cx="0" cy="203"/>
              </a:xfrm>
              <a:prstGeom prst="line">
                <a:avLst/>
              </a:prstGeom>
              <a:noFill/>
              <a:ln w="12700">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31" name="Line 52"/>
              <p:cNvSpPr>
                <a:spLocks noChangeShapeType="1"/>
              </p:cNvSpPr>
              <p:nvPr/>
            </p:nvSpPr>
            <p:spPr bwMode="gray">
              <a:xfrm flipV="1">
                <a:off x="390" y="1914"/>
                <a:ext cx="177" cy="53"/>
              </a:xfrm>
              <a:prstGeom prst="line">
                <a:avLst/>
              </a:prstGeom>
              <a:noFill/>
              <a:ln w="9525">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32" name="Line 53"/>
              <p:cNvSpPr>
                <a:spLocks noChangeShapeType="1"/>
              </p:cNvSpPr>
              <p:nvPr/>
            </p:nvSpPr>
            <p:spPr bwMode="gray">
              <a:xfrm flipH="1" flipV="1">
                <a:off x="500" y="1756"/>
                <a:ext cx="69" cy="92"/>
              </a:xfrm>
              <a:prstGeom prst="line">
                <a:avLst/>
              </a:prstGeom>
              <a:noFill/>
              <a:ln w="9525">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33" name="Oval 54"/>
              <p:cNvSpPr>
                <a:spLocks noChangeArrowheads="1"/>
              </p:cNvSpPr>
              <p:nvPr/>
            </p:nvSpPr>
            <p:spPr bwMode="gray">
              <a:xfrm>
                <a:off x="728" y="1759"/>
                <a:ext cx="86" cy="72"/>
              </a:xfrm>
              <a:prstGeom prst="ellipse">
                <a:avLst/>
              </a:prstGeom>
              <a:solidFill>
                <a:srgbClr val="FFFFFF">
                  <a:alpha val="64999"/>
                </a:srgbClr>
              </a:solidFill>
              <a:ln w="9525" algn="ctr">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34" name="Oval 55"/>
              <p:cNvSpPr>
                <a:spLocks noChangeArrowheads="1"/>
              </p:cNvSpPr>
              <p:nvPr/>
            </p:nvSpPr>
            <p:spPr bwMode="gray">
              <a:xfrm>
                <a:off x="636" y="2055"/>
                <a:ext cx="95" cy="87"/>
              </a:xfrm>
              <a:prstGeom prst="ellipse">
                <a:avLst/>
              </a:prstGeom>
              <a:solidFill>
                <a:srgbClr val="FFFFFF">
                  <a:alpha val="64999"/>
                </a:srgbClr>
              </a:solidFill>
              <a:ln w="9525" algn="ctr">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35" name="Line 56"/>
              <p:cNvSpPr>
                <a:spLocks noChangeShapeType="1"/>
              </p:cNvSpPr>
              <p:nvPr/>
            </p:nvSpPr>
            <p:spPr bwMode="gray">
              <a:xfrm>
                <a:off x="623" y="1939"/>
                <a:ext cx="34" cy="126"/>
              </a:xfrm>
              <a:prstGeom prst="line">
                <a:avLst/>
              </a:prstGeom>
              <a:noFill/>
              <a:ln w="9525">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36" name="Line 57"/>
              <p:cNvSpPr>
                <a:spLocks noChangeShapeType="1"/>
              </p:cNvSpPr>
              <p:nvPr/>
            </p:nvSpPr>
            <p:spPr bwMode="gray">
              <a:xfrm flipV="1">
                <a:off x="685" y="1799"/>
                <a:ext cx="86" cy="77"/>
              </a:xfrm>
              <a:prstGeom prst="line">
                <a:avLst/>
              </a:prstGeom>
              <a:noFill/>
              <a:ln w="9525">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37" name="Oval 58"/>
              <p:cNvSpPr>
                <a:spLocks noChangeArrowheads="1"/>
              </p:cNvSpPr>
              <p:nvPr/>
            </p:nvSpPr>
            <p:spPr bwMode="gray">
              <a:xfrm>
                <a:off x="154" y="1830"/>
                <a:ext cx="86" cy="77"/>
              </a:xfrm>
              <a:prstGeom prst="ellipse">
                <a:avLst/>
              </a:prstGeom>
              <a:solidFill>
                <a:srgbClr val="FFFFFF">
                  <a:alpha val="64999"/>
                </a:srgbClr>
              </a:solidFill>
              <a:ln w="9525" algn="ctr">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38" name="Line 59"/>
              <p:cNvSpPr>
                <a:spLocks noChangeShapeType="1"/>
              </p:cNvSpPr>
              <p:nvPr/>
            </p:nvSpPr>
            <p:spPr bwMode="gray">
              <a:xfrm>
                <a:off x="190" y="1886"/>
                <a:ext cx="69" cy="72"/>
              </a:xfrm>
              <a:prstGeom prst="line">
                <a:avLst/>
              </a:prstGeom>
              <a:noFill/>
              <a:ln w="9525">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39" name="Line 60"/>
              <p:cNvSpPr>
                <a:spLocks noChangeShapeType="1"/>
              </p:cNvSpPr>
              <p:nvPr/>
            </p:nvSpPr>
            <p:spPr bwMode="gray">
              <a:xfrm flipH="1">
                <a:off x="533" y="2112"/>
                <a:ext cx="129" cy="43"/>
              </a:xfrm>
              <a:prstGeom prst="line">
                <a:avLst/>
              </a:prstGeom>
              <a:noFill/>
              <a:ln w="9525">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40" name="Oval 61"/>
              <p:cNvSpPr>
                <a:spLocks noChangeArrowheads="1"/>
              </p:cNvSpPr>
              <p:nvPr/>
            </p:nvSpPr>
            <p:spPr bwMode="gray">
              <a:xfrm>
                <a:off x="475" y="2113"/>
                <a:ext cx="86" cy="77"/>
              </a:xfrm>
              <a:prstGeom prst="ellipse">
                <a:avLst/>
              </a:prstGeom>
              <a:solidFill>
                <a:srgbClr val="FFFFFF">
                  <a:alpha val="64999"/>
                </a:srgbClr>
              </a:solidFill>
              <a:ln w="9525" algn="ctr">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41" name="Line 62"/>
              <p:cNvSpPr>
                <a:spLocks noChangeShapeType="1"/>
              </p:cNvSpPr>
              <p:nvPr/>
            </p:nvSpPr>
            <p:spPr bwMode="gray">
              <a:xfrm>
                <a:off x="716" y="2134"/>
                <a:ext cx="30" cy="39"/>
              </a:xfrm>
              <a:prstGeom prst="line">
                <a:avLst/>
              </a:prstGeom>
              <a:noFill/>
              <a:ln w="9525">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42" name="Oval 63"/>
              <p:cNvSpPr>
                <a:spLocks noChangeArrowheads="1"/>
              </p:cNvSpPr>
              <p:nvPr/>
            </p:nvSpPr>
            <p:spPr bwMode="gray">
              <a:xfrm>
                <a:off x="727" y="2188"/>
                <a:ext cx="82" cy="77"/>
              </a:xfrm>
              <a:prstGeom prst="ellipse">
                <a:avLst/>
              </a:prstGeom>
              <a:solidFill>
                <a:srgbClr val="FFFFFF">
                  <a:alpha val="64999"/>
                </a:srgbClr>
              </a:solidFill>
              <a:ln w="9525" algn="ctr">
                <a:solidFill>
                  <a:srgbClr val="FFFFFF"/>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grpSp>
        <p:grpSp>
          <p:nvGrpSpPr>
            <p:cNvPr id="25617" name="Group 11"/>
            <p:cNvGrpSpPr>
              <a:grpSpLocks/>
            </p:cNvGrpSpPr>
            <p:nvPr/>
          </p:nvGrpSpPr>
          <p:grpSpPr bwMode="auto">
            <a:xfrm rot="970257">
              <a:off x="3203848" y="3732587"/>
              <a:ext cx="568325" cy="454025"/>
              <a:chOff x="768" y="2024"/>
              <a:chExt cx="422" cy="337"/>
            </a:xfrm>
          </p:grpSpPr>
          <p:sp>
            <p:nvSpPr>
              <p:cNvPr id="17" name="Freeform 12"/>
              <p:cNvSpPr>
                <a:spLocks/>
              </p:cNvSpPr>
              <p:nvPr/>
            </p:nvSpPr>
            <p:spPr bwMode="gray">
              <a:xfrm>
                <a:off x="1066" y="2020"/>
                <a:ext cx="117" cy="119"/>
              </a:xfrm>
              <a:custGeom>
                <a:avLst/>
                <a:gdLst/>
                <a:ahLst/>
                <a:cxnLst>
                  <a:cxn ang="0">
                    <a:pos x="12" y="0"/>
                  </a:cxn>
                  <a:cxn ang="0">
                    <a:pos x="0" y="67"/>
                  </a:cxn>
                  <a:cxn ang="0">
                    <a:pos x="53" y="117"/>
                  </a:cxn>
                  <a:cxn ang="0">
                    <a:pos x="108" y="105"/>
                  </a:cxn>
                  <a:cxn ang="0">
                    <a:pos x="116" y="54"/>
                  </a:cxn>
                  <a:cxn ang="0">
                    <a:pos x="65" y="0"/>
                  </a:cxn>
                  <a:cxn ang="0">
                    <a:pos x="12" y="0"/>
                  </a:cxn>
                </a:cxnLst>
                <a:rect l="0" t="0" r="r" b="b"/>
                <a:pathLst>
                  <a:path w="116" h="117">
                    <a:moveTo>
                      <a:pt x="12" y="0"/>
                    </a:moveTo>
                    <a:lnTo>
                      <a:pt x="0" y="67"/>
                    </a:lnTo>
                    <a:lnTo>
                      <a:pt x="53" y="117"/>
                    </a:lnTo>
                    <a:lnTo>
                      <a:pt x="108" y="105"/>
                    </a:lnTo>
                    <a:lnTo>
                      <a:pt x="116" y="54"/>
                    </a:lnTo>
                    <a:lnTo>
                      <a:pt x="65" y="0"/>
                    </a:lnTo>
                    <a:lnTo>
                      <a:pt x="12" y="0"/>
                    </a:lnTo>
                    <a:close/>
                  </a:path>
                </a:pathLst>
              </a:custGeom>
              <a:noFill/>
              <a:ln w="12700" cap="flat" cmpd="sng">
                <a:solidFill>
                  <a:srgbClr val="FFFFFF">
                    <a:alpha val="35001"/>
                  </a:srgbClr>
                </a:solidFill>
                <a:prstDash val="solid"/>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18" name="Freeform 13"/>
              <p:cNvSpPr>
                <a:spLocks/>
              </p:cNvSpPr>
              <p:nvPr/>
            </p:nvSpPr>
            <p:spPr bwMode="gray">
              <a:xfrm>
                <a:off x="857" y="2087"/>
                <a:ext cx="273" cy="229"/>
              </a:xfrm>
              <a:custGeom>
                <a:avLst/>
                <a:gdLst/>
                <a:ahLst/>
                <a:cxnLst>
                  <a:cxn ang="0">
                    <a:pos x="0" y="169"/>
                  </a:cxn>
                  <a:cxn ang="0">
                    <a:pos x="45" y="228"/>
                  </a:cxn>
                  <a:cxn ang="0">
                    <a:pos x="273" y="49"/>
                  </a:cxn>
                  <a:cxn ang="0">
                    <a:pos x="215" y="0"/>
                  </a:cxn>
                  <a:cxn ang="0">
                    <a:pos x="0" y="169"/>
                  </a:cxn>
                </a:cxnLst>
                <a:rect l="0" t="0" r="r" b="b"/>
                <a:pathLst>
                  <a:path w="273" h="228">
                    <a:moveTo>
                      <a:pt x="0" y="169"/>
                    </a:moveTo>
                    <a:lnTo>
                      <a:pt x="45" y="228"/>
                    </a:lnTo>
                    <a:lnTo>
                      <a:pt x="273" y="49"/>
                    </a:lnTo>
                    <a:lnTo>
                      <a:pt x="215" y="0"/>
                    </a:lnTo>
                    <a:lnTo>
                      <a:pt x="0" y="169"/>
                    </a:lnTo>
                    <a:close/>
                  </a:path>
                </a:pathLst>
              </a:custGeom>
              <a:noFill/>
              <a:ln w="9525" cap="flat" cmpd="sng">
                <a:solidFill>
                  <a:srgbClr val="FFFFFF">
                    <a:alpha val="35001"/>
                  </a:srgbClr>
                </a:solidFill>
                <a:prstDash val="solid"/>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19" name="Freeform 14"/>
              <p:cNvSpPr>
                <a:spLocks/>
              </p:cNvSpPr>
              <p:nvPr/>
            </p:nvSpPr>
            <p:spPr bwMode="gray">
              <a:xfrm>
                <a:off x="849" y="2019"/>
                <a:ext cx="229" cy="241"/>
              </a:xfrm>
              <a:custGeom>
                <a:avLst/>
                <a:gdLst/>
                <a:ahLst/>
                <a:cxnLst>
                  <a:cxn ang="0">
                    <a:pos x="21" y="172"/>
                  </a:cxn>
                  <a:cxn ang="0">
                    <a:pos x="0" y="237"/>
                  </a:cxn>
                  <a:cxn ang="0">
                    <a:pos x="219" y="64"/>
                  </a:cxn>
                  <a:cxn ang="0">
                    <a:pos x="228" y="0"/>
                  </a:cxn>
                  <a:cxn ang="0">
                    <a:pos x="21" y="172"/>
                  </a:cxn>
                </a:cxnLst>
                <a:rect l="0" t="0" r="r" b="b"/>
                <a:pathLst>
                  <a:path w="228" h="237">
                    <a:moveTo>
                      <a:pt x="21" y="172"/>
                    </a:moveTo>
                    <a:lnTo>
                      <a:pt x="0" y="237"/>
                    </a:lnTo>
                    <a:lnTo>
                      <a:pt x="219" y="64"/>
                    </a:lnTo>
                    <a:lnTo>
                      <a:pt x="228" y="0"/>
                    </a:lnTo>
                    <a:lnTo>
                      <a:pt x="21" y="172"/>
                    </a:lnTo>
                    <a:close/>
                  </a:path>
                </a:pathLst>
              </a:custGeom>
              <a:solidFill>
                <a:srgbClr val="FFFFFF">
                  <a:alpha val="25999"/>
                </a:srgbClr>
              </a:solidFill>
              <a:ln w="9525" cap="flat" cmpd="sng">
                <a:solidFill>
                  <a:srgbClr val="FFFFFF">
                    <a:alpha val="35001"/>
                  </a:srgbClr>
                </a:solidFill>
                <a:prstDash val="solid"/>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20" name="Freeform 15"/>
              <p:cNvSpPr>
                <a:spLocks/>
              </p:cNvSpPr>
              <p:nvPr/>
            </p:nvSpPr>
            <p:spPr bwMode="gray">
              <a:xfrm>
                <a:off x="903" y="2126"/>
                <a:ext cx="280" cy="189"/>
              </a:xfrm>
              <a:custGeom>
                <a:avLst/>
                <a:gdLst/>
                <a:ahLst/>
                <a:cxnLst>
                  <a:cxn ang="0">
                    <a:pos x="63" y="178"/>
                  </a:cxn>
                  <a:cxn ang="0">
                    <a:pos x="0" y="189"/>
                  </a:cxn>
                  <a:cxn ang="0">
                    <a:pos x="227" y="10"/>
                  </a:cxn>
                  <a:cxn ang="0">
                    <a:pos x="281" y="0"/>
                  </a:cxn>
                  <a:cxn ang="0">
                    <a:pos x="63" y="178"/>
                  </a:cxn>
                </a:cxnLst>
                <a:rect l="0" t="0" r="r" b="b"/>
                <a:pathLst>
                  <a:path w="281" h="189">
                    <a:moveTo>
                      <a:pt x="63" y="178"/>
                    </a:moveTo>
                    <a:lnTo>
                      <a:pt x="0" y="189"/>
                    </a:lnTo>
                    <a:lnTo>
                      <a:pt x="227" y="10"/>
                    </a:lnTo>
                    <a:lnTo>
                      <a:pt x="281" y="0"/>
                    </a:lnTo>
                    <a:lnTo>
                      <a:pt x="63" y="178"/>
                    </a:lnTo>
                    <a:close/>
                  </a:path>
                </a:pathLst>
              </a:custGeom>
              <a:solidFill>
                <a:srgbClr val="FFFFFF">
                  <a:alpha val="25999"/>
                </a:srgbClr>
              </a:solidFill>
              <a:ln w="9525" cap="flat" cmpd="sng">
                <a:solidFill>
                  <a:srgbClr val="FFFFFF">
                    <a:alpha val="35001"/>
                  </a:srgbClr>
                </a:solidFill>
                <a:prstDash val="solid"/>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21" name="Freeform 16"/>
              <p:cNvSpPr>
                <a:spLocks/>
              </p:cNvSpPr>
              <p:nvPr/>
            </p:nvSpPr>
            <p:spPr bwMode="gray">
              <a:xfrm>
                <a:off x="776" y="2185"/>
                <a:ext cx="161" cy="162"/>
              </a:xfrm>
              <a:custGeom>
                <a:avLst/>
                <a:gdLst/>
                <a:ahLst/>
                <a:cxnLst>
                  <a:cxn ang="0">
                    <a:pos x="0" y="135"/>
                  </a:cxn>
                  <a:cxn ang="0">
                    <a:pos x="18" y="163"/>
                  </a:cxn>
                  <a:cxn ang="0">
                    <a:pos x="161" y="120"/>
                  </a:cxn>
                  <a:cxn ang="0">
                    <a:pos x="114" y="124"/>
                  </a:cxn>
                  <a:cxn ang="0">
                    <a:pos x="69" y="67"/>
                  </a:cxn>
                  <a:cxn ang="0">
                    <a:pos x="90" y="0"/>
                  </a:cxn>
                  <a:cxn ang="0">
                    <a:pos x="0" y="135"/>
                  </a:cxn>
                </a:cxnLst>
                <a:rect l="0" t="0" r="r" b="b"/>
                <a:pathLst>
                  <a:path w="161" h="163">
                    <a:moveTo>
                      <a:pt x="0" y="135"/>
                    </a:moveTo>
                    <a:lnTo>
                      <a:pt x="18" y="163"/>
                    </a:lnTo>
                    <a:lnTo>
                      <a:pt x="161" y="120"/>
                    </a:lnTo>
                    <a:lnTo>
                      <a:pt x="114" y="124"/>
                    </a:lnTo>
                    <a:lnTo>
                      <a:pt x="69" y="67"/>
                    </a:lnTo>
                    <a:lnTo>
                      <a:pt x="90" y="0"/>
                    </a:lnTo>
                    <a:lnTo>
                      <a:pt x="0" y="135"/>
                    </a:lnTo>
                    <a:close/>
                  </a:path>
                </a:pathLst>
              </a:custGeom>
              <a:noFill/>
              <a:ln w="9525" cap="flat" cmpd="sng">
                <a:solidFill>
                  <a:srgbClr val="FFFFFF">
                    <a:alpha val="35001"/>
                  </a:srgbClr>
                </a:solidFill>
                <a:prstDash val="solid"/>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22" name="Freeform 17"/>
              <p:cNvSpPr>
                <a:spLocks/>
              </p:cNvSpPr>
              <p:nvPr/>
            </p:nvSpPr>
            <p:spPr bwMode="gray">
              <a:xfrm>
                <a:off x="758" y="2321"/>
                <a:ext cx="39" cy="35"/>
              </a:xfrm>
              <a:custGeom>
                <a:avLst/>
                <a:gdLst/>
                <a:ahLst/>
                <a:cxnLst>
                  <a:cxn ang="0">
                    <a:pos x="27" y="0"/>
                  </a:cxn>
                  <a:cxn ang="0">
                    <a:pos x="0" y="33"/>
                  </a:cxn>
                  <a:cxn ang="0">
                    <a:pos x="39" y="25"/>
                  </a:cxn>
                  <a:cxn ang="0">
                    <a:pos x="27" y="0"/>
                  </a:cxn>
                </a:cxnLst>
                <a:rect l="0" t="0" r="r" b="b"/>
                <a:pathLst>
                  <a:path w="39" h="33">
                    <a:moveTo>
                      <a:pt x="27" y="0"/>
                    </a:moveTo>
                    <a:lnTo>
                      <a:pt x="0" y="33"/>
                    </a:lnTo>
                    <a:lnTo>
                      <a:pt x="39" y="25"/>
                    </a:lnTo>
                    <a:lnTo>
                      <a:pt x="27" y="0"/>
                    </a:lnTo>
                    <a:close/>
                  </a:path>
                </a:pathLst>
              </a:custGeom>
              <a:solidFill>
                <a:srgbClr val="FFFFFF">
                  <a:alpha val="25999"/>
                </a:srgbClr>
              </a:solidFill>
              <a:ln w="9525" cap="flat" cmpd="sng">
                <a:solidFill>
                  <a:schemeClr val="tx1">
                    <a:alpha val="35001"/>
                  </a:schemeClr>
                </a:solidFill>
                <a:prstDash val="solid"/>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23" name="Line 18"/>
              <p:cNvSpPr>
                <a:spLocks noChangeShapeType="1"/>
              </p:cNvSpPr>
              <p:nvPr/>
            </p:nvSpPr>
            <p:spPr bwMode="gray">
              <a:xfrm flipV="1">
                <a:off x="784" y="2252"/>
                <a:ext cx="66" cy="71"/>
              </a:xfrm>
              <a:prstGeom prst="line">
                <a:avLst/>
              </a:prstGeom>
              <a:noFill/>
              <a:ln w="9525">
                <a:solidFill>
                  <a:srgbClr val="FFFFFF">
                    <a:alpha val="35001"/>
                  </a:srgbClr>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24" name="Line 19"/>
              <p:cNvSpPr>
                <a:spLocks noChangeShapeType="1"/>
              </p:cNvSpPr>
              <p:nvPr/>
            </p:nvSpPr>
            <p:spPr bwMode="gray">
              <a:xfrm flipV="1">
                <a:off x="795" y="2311"/>
                <a:ext cx="100" cy="33"/>
              </a:xfrm>
              <a:prstGeom prst="line">
                <a:avLst/>
              </a:prstGeom>
              <a:noFill/>
              <a:ln w="9525">
                <a:solidFill>
                  <a:srgbClr val="FFFFFF">
                    <a:alpha val="35001"/>
                  </a:srgbClr>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sp>
            <p:nvSpPr>
              <p:cNvPr id="25" name="Oval 20"/>
              <p:cNvSpPr>
                <a:spLocks noChangeArrowheads="1"/>
              </p:cNvSpPr>
              <p:nvPr/>
            </p:nvSpPr>
            <p:spPr bwMode="gray">
              <a:xfrm rot="1507387">
                <a:off x="1109" y="2058"/>
                <a:ext cx="42" cy="27"/>
              </a:xfrm>
              <a:prstGeom prst="ellipse">
                <a:avLst/>
              </a:prstGeom>
              <a:solidFill>
                <a:srgbClr val="FFFFFF">
                  <a:alpha val="25999"/>
                </a:srgbClr>
              </a:solidFill>
              <a:ln w="9525" algn="ctr">
                <a:solidFill>
                  <a:schemeClr val="tx1">
                    <a:alpha val="35001"/>
                  </a:schemeClr>
                </a:solidFill>
                <a:round/>
                <a:headEnd/>
                <a:tailEnd/>
              </a:ln>
              <a:effectLst/>
            </p:spPr>
            <p:txBody>
              <a:bodyPr wrap="none" anchor="ctr"/>
              <a:lstStyle/>
              <a:p>
                <a:pPr fontAlgn="auto">
                  <a:spcBef>
                    <a:spcPts val="0"/>
                  </a:spcBef>
                  <a:spcAft>
                    <a:spcPts val="0"/>
                  </a:spcAft>
                  <a:defRPr/>
                </a:pPr>
                <a:endParaRPr lang="zh-CN" altLang="en-US">
                  <a:latin typeface="+mj-ea"/>
                  <a:ea typeface="+mj-ea"/>
                </a:endParaRPr>
              </a:p>
            </p:txBody>
          </p:sp>
        </p:grpSp>
      </p:grpSp>
      <p:sp>
        <p:nvSpPr>
          <p:cNvPr id="25604" name="Rectangle 7"/>
          <p:cNvSpPr>
            <a:spLocks noChangeArrowheads="1"/>
          </p:cNvSpPr>
          <p:nvPr/>
        </p:nvSpPr>
        <p:spPr bwMode="gray">
          <a:xfrm>
            <a:off x="179388" y="1150938"/>
            <a:ext cx="7921625" cy="103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eaLnBrk="0" hangingPunct="0">
              <a:lnSpc>
                <a:spcPct val="110000"/>
              </a:lnSpc>
            </a:pPr>
            <a:r>
              <a:rPr lang="zh-CN" altLang="en-US" sz="2800" u="sng">
                <a:latin typeface="华文细黑" pitchFamily="2" charset="-122"/>
                <a:ea typeface="华文细黑" pitchFamily="2" charset="-122"/>
                <a:cs typeface="新宋体-18030"/>
              </a:rPr>
              <a:t>云计算的大规模、低成本、高度弹性、自动管理等特征，对服务器提出新的要求</a:t>
            </a:r>
          </a:p>
        </p:txBody>
      </p:sp>
      <p:sp>
        <p:nvSpPr>
          <p:cNvPr id="68" name="圆角矩形 5"/>
          <p:cNvSpPr>
            <a:spLocks noChangeArrowheads="1"/>
          </p:cNvSpPr>
          <p:nvPr/>
        </p:nvSpPr>
        <p:spPr bwMode="auto">
          <a:xfrm>
            <a:off x="179388" y="2420938"/>
            <a:ext cx="5543550" cy="4321175"/>
          </a:xfrm>
          <a:prstGeom prst="roundRect">
            <a:avLst>
              <a:gd name="adj" fmla="val 6638"/>
            </a:avLst>
          </a:prstGeom>
          <a:solidFill>
            <a:schemeClr val="bg1"/>
          </a:solidFill>
          <a:ln>
            <a:headEnd/>
            <a:tailEnd/>
          </a:ln>
          <a:effectLst/>
        </p:spPr>
        <p:style>
          <a:lnRef idx="1">
            <a:schemeClr val="accent2"/>
          </a:lnRef>
          <a:fillRef idx="3">
            <a:schemeClr val="accent2"/>
          </a:fillRef>
          <a:effectRef idx="2">
            <a:schemeClr val="accent2"/>
          </a:effectRef>
          <a:fontRef idx="minor">
            <a:schemeClr val="lt1"/>
          </a:fontRef>
        </p:style>
        <p:txBody>
          <a:bodyPr anchor="ctr"/>
          <a:lstStyle/>
          <a:p>
            <a:pPr marL="323850" indent="-323850">
              <a:lnSpc>
                <a:spcPct val="110000"/>
              </a:lnSpc>
              <a:spcBef>
                <a:spcPct val="15000"/>
              </a:spcBef>
              <a:spcAft>
                <a:spcPct val="10000"/>
              </a:spcAft>
              <a:buFont typeface="Wingdings" pitchFamily="2" charset="2"/>
              <a:buChar char="Ø"/>
              <a:defRPr/>
            </a:pPr>
            <a:r>
              <a:rPr lang="en-US" altLang="zh-CN" sz="2000" dirty="0">
                <a:solidFill>
                  <a:schemeClr val="tx1"/>
                </a:solidFill>
                <a:latin typeface="华文细黑" pitchFamily="2" charset="-122"/>
                <a:ea typeface="华文细黑" pitchFamily="2" charset="-122"/>
                <a:cs typeface="新宋体-18030"/>
              </a:rPr>
              <a:t>X86</a:t>
            </a:r>
            <a:r>
              <a:rPr lang="zh-CN" altLang="en-US" sz="2000" dirty="0">
                <a:solidFill>
                  <a:schemeClr val="tx1"/>
                </a:solidFill>
                <a:latin typeface="华文细黑" pitchFamily="2" charset="-122"/>
                <a:ea typeface="华文细黑" pitchFamily="2" charset="-122"/>
                <a:cs typeface="新宋体-18030"/>
              </a:rPr>
              <a:t>服务器低成本，标准化程度高，符合</a:t>
            </a:r>
            <a:r>
              <a:rPr lang="en-US" altLang="zh-CN" sz="2000" dirty="0">
                <a:solidFill>
                  <a:schemeClr val="tx1"/>
                </a:solidFill>
                <a:latin typeface="华文细黑" pitchFamily="2" charset="-122"/>
                <a:ea typeface="华文细黑" pitchFamily="2" charset="-122"/>
                <a:cs typeface="新宋体-18030"/>
              </a:rPr>
              <a:t>IT</a:t>
            </a:r>
            <a:r>
              <a:rPr lang="zh-CN" altLang="en-US" sz="2000" dirty="0">
                <a:solidFill>
                  <a:schemeClr val="tx1"/>
                </a:solidFill>
                <a:latin typeface="华文细黑" pitchFamily="2" charset="-122"/>
                <a:ea typeface="华文细黑" pitchFamily="2" charset="-122"/>
                <a:cs typeface="新宋体-18030"/>
              </a:rPr>
              <a:t>系统云计算演进趋势</a:t>
            </a:r>
          </a:p>
          <a:p>
            <a:pPr marL="323850" indent="-323850">
              <a:lnSpc>
                <a:spcPct val="110000"/>
              </a:lnSpc>
              <a:spcBef>
                <a:spcPct val="15000"/>
              </a:spcBef>
              <a:spcAft>
                <a:spcPct val="10000"/>
              </a:spcAft>
              <a:buFont typeface="Wingdings" pitchFamily="2" charset="2"/>
              <a:buChar char="Ø"/>
              <a:defRPr/>
            </a:pPr>
            <a:r>
              <a:rPr lang="zh-CN" altLang="en-US" sz="2000" dirty="0">
                <a:solidFill>
                  <a:schemeClr val="tx1"/>
                </a:solidFill>
                <a:latin typeface="华文细黑" pitchFamily="2" charset="-122"/>
                <a:ea typeface="华文细黑" pitchFamily="2" charset="-122"/>
                <a:cs typeface="新宋体-18030"/>
              </a:rPr>
              <a:t>通过构建</a:t>
            </a:r>
            <a:r>
              <a:rPr lang="en-US" altLang="zh-CN" sz="2000" dirty="0">
                <a:solidFill>
                  <a:schemeClr val="tx1"/>
                </a:solidFill>
                <a:latin typeface="华文细黑" pitchFamily="2" charset="-122"/>
                <a:ea typeface="华文细黑" pitchFamily="2" charset="-122"/>
                <a:cs typeface="新宋体-18030"/>
              </a:rPr>
              <a:t>X86</a:t>
            </a:r>
            <a:r>
              <a:rPr lang="zh-CN" altLang="en-US" sz="2000" dirty="0">
                <a:solidFill>
                  <a:schemeClr val="tx1"/>
                </a:solidFill>
                <a:latin typeface="华文细黑" pitchFamily="2" charset="-122"/>
                <a:ea typeface="华文细黑" pitchFamily="2" charset="-122"/>
                <a:cs typeface="新宋体-18030"/>
              </a:rPr>
              <a:t>服务器集群和云架构</a:t>
            </a:r>
            <a:r>
              <a:rPr lang="en-US" altLang="zh-CN" sz="2000" dirty="0">
                <a:solidFill>
                  <a:schemeClr val="tx1"/>
                </a:solidFill>
                <a:latin typeface="华文细黑" pitchFamily="2" charset="-122"/>
                <a:ea typeface="华文细黑" pitchFamily="2" charset="-122"/>
                <a:cs typeface="新宋体-18030"/>
              </a:rPr>
              <a:t>IT</a:t>
            </a:r>
            <a:r>
              <a:rPr lang="zh-CN" altLang="en-US" sz="2000" dirty="0">
                <a:solidFill>
                  <a:schemeClr val="tx1"/>
                </a:solidFill>
                <a:latin typeface="华文细黑" pitchFamily="2" charset="-122"/>
                <a:ea typeface="华文细黑" pitchFamily="2" charset="-122"/>
                <a:cs typeface="新宋体-18030"/>
              </a:rPr>
              <a:t>系统，能够在性能、可靠性等方面提供与传统</a:t>
            </a:r>
            <a:r>
              <a:rPr lang="en-US" altLang="zh-CN" sz="2000" dirty="0">
                <a:solidFill>
                  <a:schemeClr val="tx1"/>
                </a:solidFill>
                <a:latin typeface="华文细黑" pitchFamily="2" charset="-122"/>
                <a:ea typeface="华文细黑" pitchFamily="2" charset="-122"/>
                <a:cs typeface="新宋体-18030"/>
              </a:rPr>
              <a:t>UNIX</a:t>
            </a:r>
            <a:r>
              <a:rPr lang="zh-CN" altLang="en-US" sz="2000" dirty="0">
                <a:solidFill>
                  <a:schemeClr val="tx1"/>
                </a:solidFill>
                <a:latin typeface="华文细黑" pitchFamily="2" charset="-122"/>
                <a:ea typeface="华文细黑" pitchFamily="2" charset="-122"/>
                <a:cs typeface="新宋体-18030"/>
              </a:rPr>
              <a:t>服务器相当的能力，且能够实现更好的大规模扩展性，同时在成本、通用性、标准化等方面具有很大优势，也是</a:t>
            </a:r>
            <a:r>
              <a:rPr lang="en-US" altLang="zh-CN" sz="2000" dirty="0">
                <a:solidFill>
                  <a:schemeClr val="tx1"/>
                </a:solidFill>
                <a:latin typeface="华文细黑" pitchFamily="2" charset="-122"/>
                <a:ea typeface="华文细黑" pitchFamily="2" charset="-122"/>
                <a:cs typeface="新宋体-18030"/>
              </a:rPr>
              <a:t>IT</a:t>
            </a:r>
            <a:r>
              <a:rPr lang="zh-CN" altLang="en-US" sz="2000" dirty="0">
                <a:solidFill>
                  <a:schemeClr val="tx1"/>
                </a:solidFill>
                <a:latin typeface="华文细黑" pitchFamily="2" charset="-122"/>
                <a:ea typeface="华文细黑" pitchFamily="2" charset="-122"/>
                <a:cs typeface="新宋体-18030"/>
              </a:rPr>
              <a:t>系统降低成本、提高效率的必然选择</a:t>
            </a:r>
            <a:endParaRPr lang="en-US" altLang="zh-CN" sz="2000" dirty="0">
              <a:solidFill>
                <a:schemeClr val="tx1"/>
              </a:solidFill>
              <a:latin typeface="华文细黑" pitchFamily="2" charset="-122"/>
              <a:ea typeface="华文细黑" pitchFamily="2" charset="-122"/>
              <a:cs typeface="新宋体-18030"/>
            </a:endParaRPr>
          </a:p>
          <a:p>
            <a:pPr marL="323850" indent="-323850">
              <a:lnSpc>
                <a:spcPct val="110000"/>
              </a:lnSpc>
              <a:spcBef>
                <a:spcPct val="15000"/>
              </a:spcBef>
              <a:spcAft>
                <a:spcPct val="10000"/>
              </a:spcAft>
              <a:buFont typeface="Wingdings" pitchFamily="2" charset="2"/>
              <a:buChar char="Ø"/>
              <a:defRPr/>
            </a:pPr>
            <a:r>
              <a:rPr lang="en-US" altLang="zh-CN" sz="2000" dirty="0">
                <a:solidFill>
                  <a:schemeClr val="tx1"/>
                </a:solidFill>
                <a:latin typeface="华文细黑" pitchFamily="2" charset="-122"/>
                <a:ea typeface="华文细黑" pitchFamily="2" charset="-122"/>
                <a:cs typeface="新宋体-18030"/>
              </a:rPr>
              <a:t>IT</a:t>
            </a:r>
            <a:r>
              <a:rPr lang="zh-CN" altLang="en-US" sz="2000" dirty="0">
                <a:solidFill>
                  <a:schemeClr val="tx1"/>
                </a:solidFill>
                <a:latin typeface="华文细黑" pitchFamily="2" charset="-122"/>
                <a:ea typeface="华文细黑" pitchFamily="2" charset="-122"/>
                <a:cs typeface="新宋体-18030"/>
              </a:rPr>
              <a:t>系统从传统</a:t>
            </a:r>
            <a:r>
              <a:rPr lang="en-US" altLang="zh-CN" sz="2000" dirty="0">
                <a:solidFill>
                  <a:schemeClr val="tx1"/>
                </a:solidFill>
                <a:latin typeface="华文细黑" pitchFamily="2" charset="-122"/>
                <a:ea typeface="华文细黑" pitchFamily="2" charset="-122"/>
                <a:cs typeface="新宋体-18030"/>
              </a:rPr>
              <a:t>UNIX</a:t>
            </a:r>
            <a:r>
              <a:rPr lang="zh-CN" altLang="en-US" sz="2000" dirty="0">
                <a:solidFill>
                  <a:schemeClr val="tx1"/>
                </a:solidFill>
                <a:latin typeface="华文细黑" pitchFamily="2" charset="-122"/>
                <a:ea typeface="华文细黑" pitchFamily="2" charset="-122"/>
                <a:cs typeface="新宋体-18030"/>
              </a:rPr>
              <a:t>小型机</a:t>
            </a:r>
            <a:r>
              <a:rPr lang="en-US" altLang="zh-CN" sz="2000" dirty="0">
                <a:solidFill>
                  <a:schemeClr val="tx1"/>
                </a:solidFill>
                <a:latin typeface="华文细黑" pitchFamily="2" charset="-122"/>
                <a:ea typeface="华文细黑" pitchFamily="2" charset="-122"/>
                <a:cs typeface="新宋体-18030"/>
              </a:rPr>
              <a:t>+</a:t>
            </a:r>
            <a:r>
              <a:rPr lang="zh-CN" altLang="en-US" sz="2000" dirty="0">
                <a:solidFill>
                  <a:schemeClr val="tx1"/>
                </a:solidFill>
                <a:latin typeface="华文细黑" pitchFamily="2" charset="-122"/>
                <a:ea typeface="华文细黑" pitchFamily="2" charset="-122"/>
                <a:cs typeface="新宋体-18030"/>
              </a:rPr>
              <a:t>数据库架构向</a:t>
            </a:r>
            <a:r>
              <a:rPr lang="en-US" altLang="zh-CN" sz="2000" dirty="0">
                <a:solidFill>
                  <a:schemeClr val="tx1"/>
                </a:solidFill>
                <a:latin typeface="华文细黑" pitchFamily="2" charset="-122"/>
                <a:ea typeface="华文细黑" pitchFamily="2" charset="-122"/>
                <a:cs typeface="新宋体-18030"/>
              </a:rPr>
              <a:t>X86</a:t>
            </a:r>
            <a:r>
              <a:rPr lang="zh-CN" altLang="en-US" sz="2000" dirty="0">
                <a:solidFill>
                  <a:schemeClr val="tx1"/>
                </a:solidFill>
                <a:latin typeface="华文细黑" pitchFamily="2" charset="-122"/>
                <a:ea typeface="华文细黑" pitchFamily="2" charset="-122"/>
                <a:cs typeface="新宋体-18030"/>
              </a:rPr>
              <a:t>服务器集群和云计算架构演进，是</a:t>
            </a:r>
            <a:r>
              <a:rPr lang="en-US" altLang="zh-CN" sz="2000" dirty="0">
                <a:solidFill>
                  <a:schemeClr val="tx1"/>
                </a:solidFill>
                <a:latin typeface="华文细黑" pitchFamily="2" charset="-122"/>
                <a:ea typeface="华文细黑" pitchFamily="2" charset="-122"/>
                <a:cs typeface="新宋体-18030"/>
              </a:rPr>
              <a:t>IT</a:t>
            </a:r>
            <a:r>
              <a:rPr lang="zh-CN" altLang="en-US" sz="2000" dirty="0">
                <a:solidFill>
                  <a:schemeClr val="tx1"/>
                </a:solidFill>
                <a:latin typeface="华文细黑" pitchFamily="2" charset="-122"/>
                <a:ea typeface="华文细黑" pitchFamily="2" charset="-122"/>
                <a:cs typeface="新宋体-18030"/>
              </a:rPr>
              <a:t>系统云计算化的重要技术方向</a:t>
            </a:r>
            <a:endParaRPr lang="en-US" altLang="zh-CN" sz="2000" dirty="0">
              <a:solidFill>
                <a:schemeClr val="tx1"/>
              </a:solidFill>
              <a:latin typeface="华文细黑" pitchFamily="2" charset="-122"/>
              <a:ea typeface="华文细黑" pitchFamily="2" charset="-122"/>
              <a:cs typeface="新宋体-1803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矩形 33"/>
          <p:cNvSpPr>
            <a:spLocks noChangeArrowheads="1"/>
          </p:cNvSpPr>
          <p:nvPr/>
        </p:nvSpPr>
        <p:spPr bwMode="auto">
          <a:xfrm>
            <a:off x="3538538" y="3932238"/>
            <a:ext cx="4778375" cy="1006475"/>
          </a:xfrm>
          <a:prstGeom prst="rect">
            <a:avLst/>
          </a:prstGeom>
          <a:solidFill>
            <a:srgbClr val="CCFFCC"/>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1"/>
          <a:lstStyle/>
          <a:p>
            <a:pPr algn="ctr"/>
            <a:r>
              <a:rPr lang="en-US" altLang="zh-CN" sz="1600">
                <a:solidFill>
                  <a:srgbClr val="000000"/>
                </a:solidFill>
                <a:latin typeface="Arial" pitchFamily="34" charset="0"/>
                <a:ea typeface="华文细黑" pitchFamily="2" charset="-122"/>
              </a:rPr>
              <a:t>X86</a:t>
            </a:r>
            <a:r>
              <a:rPr lang="zh-CN" altLang="en-US" sz="1600">
                <a:solidFill>
                  <a:srgbClr val="000000"/>
                </a:solidFill>
                <a:latin typeface="Arial" pitchFamily="34" charset="0"/>
                <a:ea typeface="华文细黑" pitchFamily="2" charset="-122"/>
              </a:rPr>
              <a:t>服务器虚拟化</a:t>
            </a:r>
          </a:p>
        </p:txBody>
      </p:sp>
      <p:sp>
        <p:nvSpPr>
          <p:cNvPr id="26627" name="矩形 33"/>
          <p:cNvSpPr>
            <a:spLocks noChangeArrowheads="1"/>
          </p:cNvSpPr>
          <p:nvPr/>
        </p:nvSpPr>
        <p:spPr bwMode="auto">
          <a:xfrm>
            <a:off x="971550" y="5086350"/>
            <a:ext cx="7370763" cy="1006475"/>
          </a:xfrm>
          <a:prstGeom prst="rect">
            <a:avLst/>
          </a:prstGeom>
          <a:solidFill>
            <a:srgbClr val="CCFFFF"/>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1"/>
          <a:lstStyle/>
          <a:p>
            <a:pPr algn="ctr"/>
            <a:r>
              <a:rPr lang="en-US" altLang="zh-CN" sz="1600">
                <a:solidFill>
                  <a:srgbClr val="000000"/>
                </a:solidFill>
                <a:latin typeface="Arial" pitchFamily="34" charset="0"/>
                <a:ea typeface="华文细黑" pitchFamily="2" charset="-122"/>
              </a:rPr>
              <a:t>UNIX</a:t>
            </a:r>
            <a:r>
              <a:rPr lang="zh-CN" altLang="en-US" sz="1600">
                <a:solidFill>
                  <a:srgbClr val="000000"/>
                </a:solidFill>
                <a:latin typeface="Arial" pitchFamily="34" charset="0"/>
                <a:ea typeface="华文细黑" pitchFamily="2" charset="-122"/>
              </a:rPr>
              <a:t>服务器虚拟化</a:t>
            </a:r>
          </a:p>
        </p:txBody>
      </p:sp>
      <p:sp>
        <p:nvSpPr>
          <p:cNvPr id="26628" name="标题 1"/>
          <p:cNvSpPr>
            <a:spLocks noGrp="1"/>
          </p:cNvSpPr>
          <p:nvPr>
            <p:ph type="title" idx="4294967295"/>
          </p:nvPr>
        </p:nvSpPr>
        <p:spPr/>
        <p:txBody>
          <a:bodyPr/>
          <a:lstStyle/>
          <a:p>
            <a:r>
              <a:rPr lang="zh-CN" altLang="en-US" smtClean="0"/>
              <a:t>服务器虚拟化技术分类</a:t>
            </a:r>
          </a:p>
        </p:txBody>
      </p:sp>
      <p:sp>
        <p:nvSpPr>
          <p:cNvPr id="26629" name="AutoShape 51"/>
          <p:cNvSpPr>
            <a:spLocks noChangeArrowheads="1"/>
          </p:cNvSpPr>
          <p:nvPr/>
        </p:nvSpPr>
        <p:spPr bwMode="auto">
          <a:xfrm>
            <a:off x="1552575" y="3505200"/>
            <a:ext cx="1981200" cy="228600"/>
          </a:xfrm>
          <a:prstGeom prst="leftArrow">
            <a:avLst>
              <a:gd name="adj1" fmla="val 50000"/>
              <a:gd name="adj2" fmla="val 216667"/>
            </a:avLst>
          </a:prstGeom>
          <a:solidFill>
            <a:schemeClr val="accent2">
              <a:alpha val="39999"/>
            </a:schemeClr>
          </a:solidFill>
          <a:ln w="9525" algn="ctr">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6630" name="AutoShape 52"/>
          <p:cNvSpPr>
            <a:spLocks noChangeArrowheads="1"/>
          </p:cNvSpPr>
          <p:nvPr/>
        </p:nvSpPr>
        <p:spPr bwMode="auto">
          <a:xfrm flipH="1">
            <a:off x="5643563" y="3505200"/>
            <a:ext cx="1981200" cy="228600"/>
          </a:xfrm>
          <a:prstGeom prst="leftArrow">
            <a:avLst>
              <a:gd name="adj1" fmla="val 50000"/>
              <a:gd name="adj2" fmla="val 216667"/>
            </a:avLst>
          </a:prstGeom>
          <a:solidFill>
            <a:schemeClr val="accent2">
              <a:alpha val="39999"/>
            </a:schemeClr>
          </a:solidFill>
          <a:ln w="9525" algn="ctr">
            <a:solidFill>
              <a:schemeClr val="tx1"/>
            </a:solidFill>
            <a:miter lim="800000"/>
            <a:headEnd/>
            <a:tailEnd/>
          </a:ln>
        </p:spPr>
        <p:txBody>
          <a:bodyPr wrap="none" anchor="ctr"/>
          <a:lstStyle/>
          <a:p>
            <a:endParaRPr lang="zh-CN" altLang="en-US" sz="1800">
              <a:latin typeface="Arial" pitchFamily="34" charset="0"/>
              <a:ea typeface="宋体" pitchFamily="2" charset="-122"/>
            </a:endParaRPr>
          </a:p>
        </p:txBody>
      </p:sp>
      <p:sp>
        <p:nvSpPr>
          <p:cNvPr id="26631" name="Text Box 53"/>
          <p:cNvSpPr txBox="1">
            <a:spLocks noChangeArrowheads="1"/>
          </p:cNvSpPr>
          <p:nvPr/>
        </p:nvSpPr>
        <p:spPr bwMode="auto">
          <a:xfrm>
            <a:off x="428625" y="3429000"/>
            <a:ext cx="12001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prstDash val="lgDash"/>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spcBef>
                <a:spcPct val="50000"/>
              </a:spcBef>
            </a:pPr>
            <a:r>
              <a:rPr lang="zh-CN" altLang="en-US" sz="1800">
                <a:latin typeface="Times New Roman" pitchFamily="18" charset="0"/>
                <a:ea typeface="华文中宋" pitchFamily="2" charset="-122"/>
              </a:rPr>
              <a:t>隔离性高</a:t>
            </a:r>
          </a:p>
        </p:txBody>
      </p:sp>
      <p:sp>
        <p:nvSpPr>
          <p:cNvPr id="26632" name="Text Box 54"/>
          <p:cNvSpPr txBox="1">
            <a:spLocks noChangeArrowheads="1"/>
          </p:cNvSpPr>
          <p:nvPr/>
        </p:nvSpPr>
        <p:spPr bwMode="auto">
          <a:xfrm>
            <a:off x="7700963" y="3429000"/>
            <a:ext cx="115728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prstDash val="lgDash"/>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spcBef>
                <a:spcPct val="50000"/>
              </a:spcBef>
            </a:pPr>
            <a:r>
              <a:rPr lang="zh-CN" altLang="en-US" sz="1800">
                <a:latin typeface="Times New Roman" pitchFamily="18" charset="0"/>
                <a:ea typeface="华文中宋" pitchFamily="2" charset="-122"/>
              </a:rPr>
              <a:t>灵活性高</a:t>
            </a:r>
          </a:p>
        </p:txBody>
      </p:sp>
      <p:sp>
        <p:nvSpPr>
          <p:cNvPr id="26633" name="Line 56"/>
          <p:cNvSpPr>
            <a:spLocks noChangeShapeType="1"/>
          </p:cNvSpPr>
          <p:nvPr/>
        </p:nvSpPr>
        <p:spPr bwMode="auto">
          <a:xfrm>
            <a:off x="3371850" y="928688"/>
            <a:ext cx="0" cy="5257800"/>
          </a:xfrm>
          <a:prstGeom prst="line">
            <a:avLst/>
          </a:prstGeom>
          <a:noFill/>
          <a:ln w="12700">
            <a:solidFill>
              <a:schemeClr val="tx1"/>
            </a:solidFill>
            <a:prstDash val="lgDash"/>
            <a:round/>
            <a:headEnd/>
            <a:tailEnd/>
          </a:ln>
          <a:extLst>
            <a:ext uri="{909E8E84-426E-40DD-AFC4-6F175D3DCCD1}">
              <a14:hiddenFill xmlns:a14="http://schemas.microsoft.com/office/drawing/2010/main">
                <a:noFill/>
              </a14:hiddenFill>
            </a:ext>
          </a:extLst>
        </p:spPr>
        <p:txBody>
          <a:bodyPr>
            <a:spAutoFit/>
          </a:bodyPr>
          <a:lstStyle/>
          <a:p>
            <a:endParaRPr lang="zh-CN" altLang="en-US"/>
          </a:p>
        </p:txBody>
      </p:sp>
      <p:sp>
        <p:nvSpPr>
          <p:cNvPr id="26634" name="Line 57"/>
          <p:cNvSpPr>
            <a:spLocks noChangeShapeType="1"/>
          </p:cNvSpPr>
          <p:nvPr/>
        </p:nvSpPr>
        <p:spPr bwMode="auto">
          <a:xfrm>
            <a:off x="5886450" y="928688"/>
            <a:ext cx="0" cy="5257800"/>
          </a:xfrm>
          <a:prstGeom prst="line">
            <a:avLst/>
          </a:prstGeom>
          <a:noFill/>
          <a:ln w="12700">
            <a:solidFill>
              <a:schemeClr val="tx1"/>
            </a:solidFill>
            <a:prstDash val="lgDash"/>
            <a:round/>
            <a:headEnd/>
            <a:tailEnd/>
          </a:ln>
          <a:extLst>
            <a:ext uri="{909E8E84-426E-40DD-AFC4-6F175D3DCCD1}">
              <a14:hiddenFill xmlns:a14="http://schemas.microsoft.com/office/drawing/2010/main">
                <a:noFill/>
              </a14:hiddenFill>
            </a:ext>
          </a:extLst>
        </p:spPr>
        <p:txBody>
          <a:bodyPr>
            <a:spAutoFit/>
          </a:bodyPr>
          <a:lstStyle/>
          <a:p>
            <a:endParaRPr lang="zh-CN" altLang="en-US"/>
          </a:p>
        </p:txBody>
      </p:sp>
      <p:grpSp>
        <p:nvGrpSpPr>
          <p:cNvPr id="26635" name="组合 72"/>
          <p:cNvGrpSpPr>
            <a:grpSpLocks/>
          </p:cNvGrpSpPr>
          <p:nvPr/>
        </p:nvGrpSpPr>
        <p:grpSpPr bwMode="auto">
          <a:xfrm>
            <a:off x="6299200" y="1214438"/>
            <a:ext cx="1296988" cy="1135062"/>
            <a:chOff x="6584691" y="1095358"/>
            <a:chExt cx="1571629" cy="1714512"/>
          </a:xfrm>
        </p:grpSpPr>
        <p:sp>
          <p:nvSpPr>
            <p:cNvPr id="67" name="矩形 66"/>
            <p:cNvSpPr/>
            <p:nvPr/>
          </p:nvSpPr>
          <p:spPr bwMode="auto">
            <a:xfrm>
              <a:off x="6643702" y="1214422"/>
              <a:ext cx="650327" cy="403277"/>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1</a:t>
              </a:r>
            </a:p>
          </p:txBody>
        </p:sp>
        <p:sp>
          <p:nvSpPr>
            <p:cNvPr id="68" name="矩形 67"/>
            <p:cNvSpPr/>
            <p:nvPr/>
          </p:nvSpPr>
          <p:spPr bwMode="auto">
            <a:xfrm>
              <a:off x="7465047" y="1214422"/>
              <a:ext cx="650327" cy="403277"/>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2</a:t>
              </a:r>
            </a:p>
          </p:txBody>
        </p:sp>
        <p:sp>
          <p:nvSpPr>
            <p:cNvPr id="69" name="矩形 68"/>
            <p:cNvSpPr/>
            <p:nvPr/>
          </p:nvSpPr>
          <p:spPr>
            <a:xfrm>
              <a:off x="6658157" y="2172302"/>
              <a:ext cx="1462678" cy="637568"/>
            </a:xfrm>
            <a:prstGeom prst="rect">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HW</a:t>
              </a:r>
            </a:p>
          </p:txBody>
        </p:sp>
        <p:sp>
          <p:nvSpPr>
            <p:cNvPr id="70" name="矩形 69"/>
            <p:cNvSpPr/>
            <p:nvPr/>
          </p:nvSpPr>
          <p:spPr>
            <a:xfrm>
              <a:off x="6584691" y="1095358"/>
              <a:ext cx="786777" cy="570705"/>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sp>
          <p:nvSpPr>
            <p:cNvPr id="71" name="矩形 70"/>
            <p:cNvSpPr/>
            <p:nvPr/>
          </p:nvSpPr>
          <p:spPr>
            <a:xfrm>
              <a:off x="7371468" y="1095358"/>
              <a:ext cx="784852" cy="570705"/>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sp>
          <p:nvSpPr>
            <p:cNvPr id="72" name="矩形 71"/>
            <p:cNvSpPr/>
            <p:nvPr/>
          </p:nvSpPr>
          <p:spPr bwMode="auto">
            <a:xfrm>
              <a:off x="6643702" y="1692213"/>
              <a:ext cx="1477133" cy="403277"/>
            </a:xfrm>
            <a:prstGeom prst="rect">
              <a:avLst/>
            </a:prstGeom>
            <a:solidFill>
              <a:srgbClr val="FFCC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OS</a:t>
              </a:r>
            </a:p>
          </p:txBody>
        </p:sp>
      </p:grpSp>
      <p:grpSp>
        <p:nvGrpSpPr>
          <p:cNvPr id="26636" name="组合 73"/>
          <p:cNvGrpSpPr>
            <a:grpSpLocks/>
          </p:cNvGrpSpPr>
          <p:nvPr/>
        </p:nvGrpSpPr>
        <p:grpSpPr bwMode="auto">
          <a:xfrm>
            <a:off x="1285875" y="1214438"/>
            <a:ext cx="1485900" cy="1182687"/>
            <a:chOff x="5857884" y="1500174"/>
            <a:chExt cx="1571629" cy="1785950"/>
          </a:xfrm>
        </p:grpSpPr>
        <p:sp>
          <p:nvSpPr>
            <p:cNvPr id="75" name="矩形 74"/>
            <p:cNvSpPr/>
            <p:nvPr/>
          </p:nvSpPr>
          <p:spPr bwMode="auto">
            <a:xfrm>
              <a:off x="5916895" y="1619238"/>
              <a:ext cx="650327" cy="403277"/>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1</a:t>
              </a:r>
            </a:p>
          </p:txBody>
        </p:sp>
        <p:sp>
          <p:nvSpPr>
            <p:cNvPr id="76" name="矩形 75"/>
            <p:cNvSpPr/>
            <p:nvPr/>
          </p:nvSpPr>
          <p:spPr bwMode="auto">
            <a:xfrm>
              <a:off x="5916895" y="2097029"/>
              <a:ext cx="650327" cy="403277"/>
            </a:xfrm>
            <a:prstGeom prst="rect">
              <a:avLst/>
            </a:prstGeom>
            <a:solidFill>
              <a:srgbClr val="FFCC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OS1</a:t>
              </a:r>
            </a:p>
          </p:txBody>
        </p:sp>
        <p:sp>
          <p:nvSpPr>
            <p:cNvPr id="77" name="矩形 76"/>
            <p:cNvSpPr/>
            <p:nvPr/>
          </p:nvSpPr>
          <p:spPr bwMode="auto">
            <a:xfrm>
              <a:off x="6738240" y="1619238"/>
              <a:ext cx="650327" cy="403277"/>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2</a:t>
              </a:r>
            </a:p>
          </p:txBody>
        </p:sp>
        <p:sp>
          <p:nvSpPr>
            <p:cNvPr id="78" name="矩形 77"/>
            <p:cNvSpPr/>
            <p:nvPr/>
          </p:nvSpPr>
          <p:spPr bwMode="auto">
            <a:xfrm>
              <a:off x="6738240" y="2097029"/>
              <a:ext cx="650327" cy="403277"/>
            </a:xfrm>
            <a:prstGeom prst="rect">
              <a:avLst/>
            </a:prstGeom>
            <a:solidFill>
              <a:srgbClr val="FFCC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OS2</a:t>
              </a:r>
            </a:p>
          </p:txBody>
        </p:sp>
        <p:sp>
          <p:nvSpPr>
            <p:cNvPr id="79" name="矩形 78"/>
            <p:cNvSpPr/>
            <p:nvPr/>
          </p:nvSpPr>
          <p:spPr>
            <a:xfrm>
              <a:off x="5931350" y="2577118"/>
              <a:ext cx="650331" cy="637568"/>
            </a:xfrm>
            <a:prstGeom prst="rect">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HW1</a:t>
              </a:r>
            </a:p>
          </p:txBody>
        </p:sp>
        <p:sp>
          <p:nvSpPr>
            <p:cNvPr id="80" name="矩形 79"/>
            <p:cNvSpPr/>
            <p:nvPr/>
          </p:nvSpPr>
          <p:spPr>
            <a:xfrm>
              <a:off x="6740537" y="2577118"/>
              <a:ext cx="650331" cy="637568"/>
            </a:xfrm>
            <a:prstGeom prst="rect">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HW2</a:t>
              </a:r>
            </a:p>
          </p:txBody>
        </p:sp>
        <p:sp>
          <p:nvSpPr>
            <p:cNvPr id="81" name="矩形 80"/>
            <p:cNvSpPr/>
            <p:nvPr/>
          </p:nvSpPr>
          <p:spPr>
            <a:xfrm>
              <a:off x="5857884" y="1500174"/>
              <a:ext cx="785815" cy="1785950"/>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sp>
          <p:nvSpPr>
            <p:cNvPr id="82" name="矩形 81"/>
            <p:cNvSpPr/>
            <p:nvPr/>
          </p:nvSpPr>
          <p:spPr>
            <a:xfrm>
              <a:off x="6643699" y="1500174"/>
              <a:ext cx="785815" cy="1785950"/>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grpSp>
      <p:grpSp>
        <p:nvGrpSpPr>
          <p:cNvPr id="26637" name="组合 82"/>
          <p:cNvGrpSpPr>
            <a:grpSpLocks/>
          </p:cNvGrpSpPr>
          <p:nvPr/>
        </p:nvGrpSpPr>
        <p:grpSpPr bwMode="auto">
          <a:xfrm>
            <a:off x="3841750" y="1214438"/>
            <a:ext cx="1377950" cy="1130300"/>
            <a:chOff x="2857488" y="4393554"/>
            <a:chExt cx="1571629" cy="1706306"/>
          </a:xfrm>
        </p:grpSpPr>
        <p:sp>
          <p:nvSpPr>
            <p:cNvPr id="84" name="矩形 83"/>
            <p:cNvSpPr/>
            <p:nvPr/>
          </p:nvSpPr>
          <p:spPr bwMode="auto">
            <a:xfrm>
              <a:off x="2916499" y="4476758"/>
              <a:ext cx="650327" cy="403277"/>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1</a:t>
              </a:r>
            </a:p>
          </p:txBody>
        </p:sp>
        <p:sp>
          <p:nvSpPr>
            <p:cNvPr id="85" name="矩形 84"/>
            <p:cNvSpPr/>
            <p:nvPr/>
          </p:nvSpPr>
          <p:spPr bwMode="auto">
            <a:xfrm>
              <a:off x="2916499" y="4954549"/>
              <a:ext cx="650327" cy="403277"/>
            </a:xfrm>
            <a:prstGeom prst="rect">
              <a:avLst/>
            </a:prstGeom>
            <a:solidFill>
              <a:srgbClr val="FFCC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OS1</a:t>
              </a:r>
            </a:p>
          </p:txBody>
        </p:sp>
        <p:sp>
          <p:nvSpPr>
            <p:cNvPr id="86" name="矩形 85"/>
            <p:cNvSpPr/>
            <p:nvPr/>
          </p:nvSpPr>
          <p:spPr bwMode="auto">
            <a:xfrm>
              <a:off x="3737844" y="4476758"/>
              <a:ext cx="650327" cy="403277"/>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2</a:t>
              </a:r>
            </a:p>
          </p:txBody>
        </p:sp>
        <p:sp>
          <p:nvSpPr>
            <p:cNvPr id="87" name="矩形 86"/>
            <p:cNvSpPr/>
            <p:nvPr/>
          </p:nvSpPr>
          <p:spPr bwMode="auto">
            <a:xfrm>
              <a:off x="3737844" y="4954549"/>
              <a:ext cx="650327" cy="403277"/>
            </a:xfrm>
            <a:prstGeom prst="rect">
              <a:avLst/>
            </a:prstGeom>
            <a:solidFill>
              <a:srgbClr val="FFCC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OS2</a:t>
              </a:r>
            </a:p>
          </p:txBody>
        </p:sp>
        <p:sp>
          <p:nvSpPr>
            <p:cNvPr id="88" name="矩形 87"/>
            <p:cNvSpPr/>
            <p:nvPr/>
          </p:nvSpPr>
          <p:spPr>
            <a:xfrm>
              <a:off x="2911278" y="5786454"/>
              <a:ext cx="1462320" cy="313406"/>
            </a:xfrm>
            <a:prstGeom prst="rect">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HW</a:t>
              </a:r>
            </a:p>
          </p:txBody>
        </p:sp>
        <p:sp>
          <p:nvSpPr>
            <p:cNvPr id="89" name="矩形 88"/>
            <p:cNvSpPr/>
            <p:nvPr/>
          </p:nvSpPr>
          <p:spPr>
            <a:xfrm>
              <a:off x="2857488" y="4393554"/>
              <a:ext cx="758656" cy="999339"/>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sp>
          <p:nvSpPr>
            <p:cNvPr id="90" name="矩形 89"/>
            <p:cNvSpPr/>
            <p:nvPr/>
          </p:nvSpPr>
          <p:spPr>
            <a:xfrm>
              <a:off x="3670463" y="4393554"/>
              <a:ext cx="758654" cy="999339"/>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sp>
          <p:nvSpPr>
            <p:cNvPr id="91" name="矩形 90"/>
            <p:cNvSpPr/>
            <p:nvPr/>
          </p:nvSpPr>
          <p:spPr>
            <a:xfrm>
              <a:off x="2921323" y="5429264"/>
              <a:ext cx="1452129" cy="285752"/>
            </a:xfrm>
            <a:prstGeom prst="rect">
              <a:avLst/>
            </a:prstGeom>
            <a:solidFill>
              <a:schemeClr val="accent2">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VMM</a:t>
              </a:r>
            </a:p>
          </p:txBody>
        </p:sp>
      </p:grpSp>
      <p:sp>
        <p:nvSpPr>
          <p:cNvPr id="54" name="矩形 53"/>
          <p:cNvSpPr/>
          <p:nvPr/>
        </p:nvSpPr>
        <p:spPr>
          <a:xfrm>
            <a:off x="3419475" y="2492375"/>
            <a:ext cx="2374900" cy="865188"/>
          </a:xfrm>
          <a:prstGeom prst="rect">
            <a:avLst/>
          </a:prstGeom>
          <a:solidFill>
            <a:srgbClr val="FFCCFF"/>
          </a:solidFill>
          <a:ln w="6350">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lstStyle/>
          <a:p>
            <a:pPr algn="ctr">
              <a:defRPr/>
            </a:pPr>
            <a:r>
              <a:rPr lang="zh-CN" altLang="en-US" sz="1400">
                <a:solidFill>
                  <a:srgbClr val="000000"/>
                </a:solidFill>
                <a:latin typeface="Arial" pitchFamily="34" charset="0"/>
                <a:ea typeface="华文细黑" pitchFamily="2" charset="-122"/>
              </a:rPr>
              <a:t>操作系统级虚拟化</a:t>
            </a:r>
          </a:p>
          <a:p>
            <a:pPr>
              <a:defRPr/>
            </a:pPr>
            <a:r>
              <a:rPr lang="zh-CN" altLang="en-US" sz="1400">
                <a:solidFill>
                  <a:srgbClr val="000000"/>
                </a:solidFill>
                <a:latin typeface="Arial" pitchFamily="34" charset="0"/>
                <a:ea typeface="华文细黑" pitchFamily="2" charset="-122"/>
              </a:rPr>
              <a:t>在硬件之上构建虚拟层，建立多个逻辑分区或虚拟机</a:t>
            </a:r>
          </a:p>
        </p:txBody>
      </p:sp>
      <p:sp>
        <p:nvSpPr>
          <p:cNvPr id="8" name="矩形 53"/>
          <p:cNvSpPr/>
          <p:nvPr/>
        </p:nvSpPr>
        <p:spPr>
          <a:xfrm>
            <a:off x="901700" y="2492375"/>
            <a:ext cx="2374900" cy="865188"/>
          </a:xfrm>
          <a:prstGeom prst="rect">
            <a:avLst/>
          </a:prstGeom>
          <a:solidFill>
            <a:srgbClr val="FFCCFF"/>
          </a:solidFill>
          <a:ln w="6350">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lstStyle/>
          <a:p>
            <a:pPr algn="ctr">
              <a:defRPr/>
            </a:pPr>
            <a:r>
              <a:rPr lang="zh-CN" altLang="en-US" sz="1400">
                <a:solidFill>
                  <a:srgbClr val="000000"/>
                </a:solidFill>
                <a:latin typeface="Arial" pitchFamily="34" charset="0"/>
                <a:ea typeface="华文细黑" pitchFamily="2" charset="-122"/>
              </a:rPr>
              <a:t>硬件级虚拟化</a:t>
            </a:r>
          </a:p>
          <a:p>
            <a:pPr>
              <a:defRPr/>
            </a:pPr>
            <a:r>
              <a:rPr lang="zh-CN" altLang="en-US" sz="1400">
                <a:solidFill>
                  <a:srgbClr val="000000"/>
                </a:solidFill>
                <a:latin typeface="Arial" pitchFamily="34" charset="0"/>
                <a:ea typeface="华文细黑" pitchFamily="2" charset="-122"/>
              </a:rPr>
              <a:t>在硬件架构上实现物理隔离分区，电气化隔离</a:t>
            </a:r>
          </a:p>
        </p:txBody>
      </p:sp>
      <p:sp>
        <p:nvSpPr>
          <p:cNvPr id="9" name="矩形 53"/>
          <p:cNvSpPr/>
          <p:nvPr/>
        </p:nvSpPr>
        <p:spPr>
          <a:xfrm>
            <a:off x="5942013" y="2492375"/>
            <a:ext cx="2374900" cy="865188"/>
          </a:xfrm>
          <a:prstGeom prst="rect">
            <a:avLst/>
          </a:prstGeom>
          <a:solidFill>
            <a:srgbClr val="FFCCFF"/>
          </a:solidFill>
          <a:ln w="6350">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lstStyle/>
          <a:p>
            <a:pPr algn="ctr">
              <a:defRPr/>
            </a:pPr>
            <a:r>
              <a:rPr lang="zh-CN" altLang="en-US" sz="1400">
                <a:solidFill>
                  <a:srgbClr val="000000"/>
                </a:solidFill>
                <a:latin typeface="Arial" pitchFamily="34" charset="0"/>
                <a:ea typeface="华文细黑" pitchFamily="2" charset="-122"/>
              </a:rPr>
              <a:t>应用级虚拟化</a:t>
            </a:r>
          </a:p>
          <a:p>
            <a:pPr>
              <a:defRPr/>
            </a:pPr>
            <a:r>
              <a:rPr lang="zh-CN" altLang="en-US" sz="1400">
                <a:solidFill>
                  <a:srgbClr val="000000"/>
                </a:solidFill>
                <a:latin typeface="Arial" pitchFamily="34" charset="0"/>
                <a:ea typeface="华文细黑" pitchFamily="2" charset="-122"/>
              </a:rPr>
              <a:t>在同一操作系统内，创建应用隔离容器</a:t>
            </a:r>
          </a:p>
        </p:txBody>
      </p:sp>
      <p:sp>
        <p:nvSpPr>
          <p:cNvPr id="26641" name="Rectangle 78"/>
          <p:cNvSpPr>
            <a:spLocks noChangeArrowheads="1"/>
          </p:cNvSpPr>
          <p:nvPr/>
        </p:nvSpPr>
        <p:spPr bwMode="auto">
          <a:xfrm>
            <a:off x="1042988" y="5445125"/>
            <a:ext cx="2170112" cy="304800"/>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buFontTx/>
              <a:buChar char="•"/>
            </a:pPr>
            <a:r>
              <a:rPr lang="en-US" altLang="zh-CN" sz="1400">
                <a:solidFill>
                  <a:srgbClr val="000000"/>
                </a:solidFill>
                <a:latin typeface="Arial" pitchFamily="34" charset="0"/>
                <a:ea typeface="宋体" pitchFamily="2" charset="-122"/>
              </a:rPr>
              <a:t>HP nPar</a:t>
            </a:r>
            <a:r>
              <a:rPr lang="zh-CN" altLang="en-US" sz="1400">
                <a:solidFill>
                  <a:srgbClr val="000000"/>
                </a:solidFill>
                <a:latin typeface="Arial" pitchFamily="34" charset="0"/>
                <a:ea typeface="宋体" pitchFamily="2" charset="-122"/>
              </a:rPr>
              <a:t>，</a:t>
            </a:r>
            <a:r>
              <a:rPr lang="en-US" altLang="zh-CN" sz="1400">
                <a:solidFill>
                  <a:srgbClr val="000000"/>
                </a:solidFill>
                <a:latin typeface="Arial" pitchFamily="34" charset="0"/>
                <a:ea typeface="宋体" pitchFamily="2" charset="-122"/>
              </a:rPr>
              <a:t>SUN DSD</a:t>
            </a:r>
          </a:p>
        </p:txBody>
      </p:sp>
      <p:sp>
        <p:nvSpPr>
          <p:cNvPr id="26642" name="Rectangle 79"/>
          <p:cNvSpPr>
            <a:spLocks noChangeArrowheads="1"/>
          </p:cNvSpPr>
          <p:nvPr/>
        </p:nvSpPr>
        <p:spPr bwMode="auto">
          <a:xfrm>
            <a:off x="3481388" y="5445125"/>
            <a:ext cx="2170112" cy="517525"/>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buFontTx/>
              <a:buChar char="•"/>
            </a:pPr>
            <a:r>
              <a:rPr lang="en-US" altLang="zh-CN" sz="1400">
                <a:solidFill>
                  <a:srgbClr val="000000"/>
                </a:solidFill>
                <a:latin typeface="Arial" pitchFamily="34" charset="0"/>
                <a:ea typeface="宋体" pitchFamily="2" charset="-122"/>
              </a:rPr>
              <a:t>HP vPar</a:t>
            </a:r>
            <a:r>
              <a:rPr lang="zh-CN" altLang="en-US" sz="1400">
                <a:solidFill>
                  <a:srgbClr val="000000"/>
                </a:solidFill>
                <a:latin typeface="Arial" pitchFamily="34" charset="0"/>
                <a:ea typeface="宋体" pitchFamily="2" charset="-122"/>
              </a:rPr>
              <a:t>，</a:t>
            </a:r>
            <a:r>
              <a:rPr lang="en-US" altLang="zh-CN" sz="1400">
                <a:solidFill>
                  <a:srgbClr val="000000"/>
                </a:solidFill>
                <a:latin typeface="Arial" pitchFamily="34" charset="0"/>
                <a:ea typeface="宋体" pitchFamily="2" charset="-122"/>
              </a:rPr>
              <a:t>SUN LD</a:t>
            </a:r>
            <a:r>
              <a:rPr lang="zh-CN" altLang="en-US" sz="1400">
                <a:solidFill>
                  <a:srgbClr val="000000"/>
                </a:solidFill>
                <a:latin typeface="Arial" pitchFamily="34" charset="0"/>
                <a:ea typeface="宋体" pitchFamily="2" charset="-122"/>
              </a:rPr>
              <a:t>，</a:t>
            </a:r>
            <a:r>
              <a:rPr lang="en-US" altLang="zh-CN" sz="1400">
                <a:solidFill>
                  <a:srgbClr val="000000"/>
                </a:solidFill>
                <a:latin typeface="Arial" pitchFamily="34" charset="0"/>
                <a:ea typeface="宋体" pitchFamily="2" charset="-122"/>
              </a:rPr>
              <a:t>IBM DLPar</a:t>
            </a:r>
          </a:p>
        </p:txBody>
      </p:sp>
      <p:sp>
        <p:nvSpPr>
          <p:cNvPr id="26643" name="Rectangle 80"/>
          <p:cNvSpPr>
            <a:spLocks noChangeArrowheads="1"/>
          </p:cNvSpPr>
          <p:nvPr/>
        </p:nvSpPr>
        <p:spPr bwMode="auto">
          <a:xfrm>
            <a:off x="5930900" y="5445125"/>
            <a:ext cx="2170113" cy="517525"/>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buFontTx/>
              <a:buChar char="•"/>
            </a:pPr>
            <a:r>
              <a:rPr lang="en-US" altLang="zh-CN" sz="1400">
                <a:solidFill>
                  <a:srgbClr val="000000"/>
                </a:solidFill>
                <a:latin typeface="Arial" pitchFamily="34" charset="0"/>
                <a:ea typeface="宋体" pitchFamily="2" charset="-122"/>
              </a:rPr>
              <a:t>HP SRP</a:t>
            </a:r>
            <a:r>
              <a:rPr lang="zh-CN" altLang="en-US" sz="1400">
                <a:solidFill>
                  <a:srgbClr val="000000"/>
                </a:solidFill>
                <a:latin typeface="Arial" pitchFamily="34" charset="0"/>
                <a:ea typeface="宋体" pitchFamily="2" charset="-122"/>
              </a:rPr>
              <a:t>，</a:t>
            </a:r>
            <a:r>
              <a:rPr lang="en-US" altLang="zh-CN" sz="1400">
                <a:solidFill>
                  <a:srgbClr val="000000"/>
                </a:solidFill>
                <a:latin typeface="Arial" pitchFamily="34" charset="0"/>
                <a:ea typeface="宋体" pitchFamily="2" charset="-122"/>
              </a:rPr>
              <a:t>SUN Saloris Container</a:t>
            </a:r>
            <a:r>
              <a:rPr lang="zh-CN" altLang="en-US" sz="1400">
                <a:solidFill>
                  <a:srgbClr val="000000"/>
                </a:solidFill>
                <a:latin typeface="Arial" pitchFamily="34" charset="0"/>
                <a:ea typeface="宋体" pitchFamily="2" charset="-122"/>
              </a:rPr>
              <a:t>，</a:t>
            </a:r>
            <a:r>
              <a:rPr lang="en-US" altLang="zh-CN" sz="1400">
                <a:solidFill>
                  <a:srgbClr val="000000"/>
                </a:solidFill>
                <a:latin typeface="Arial" pitchFamily="34" charset="0"/>
                <a:ea typeface="宋体" pitchFamily="2" charset="-122"/>
              </a:rPr>
              <a:t>IBM WPar</a:t>
            </a:r>
          </a:p>
        </p:txBody>
      </p:sp>
      <p:sp>
        <p:nvSpPr>
          <p:cNvPr id="26644" name="Rectangle 81"/>
          <p:cNvSpPr>
            <a:spLocks noChangeArrowheads="1"/>
          </p:cNvSpPr>
          <p:nvPr/>
        </p:nvSpPr>
        <p:spPr bwMode="auto">
          <a:xfrm>
            <a:off x="3563938" y="4348163"/>
            <a:ext cx="2170112" cy="517525"/>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buFontTx/>
              <a:buChar char="•"/>
            </a:pPr>
            <a:r>
              <a:rPr lang="en-US" altLang="zh-CN" sz="1400">
                <a:solidFill>
                  <a:srgbClr val="000000"/>
                </a:solidFill>
                <a:latin typeface="Arial" pitchFamily="34" charset="0"/>
                <a:ea typeface="宋体" pitchFamily="2" charset="-122"/>
              </a:rPr>
              <a:t>VMWare ESX</a:t>
            </a:r>
            <a:r>
              <a:rPr lang="zh-CN" altLang="en-US" sz="1400">
                <a:solidFill>
                  <a:srgbClr val="000000"/>
                </a:solidFill>
                <a:latin typeface="Arial" pitchFamily="34" charset="0"/>
                <a:ea typeface="宋体" pitchFamily="2" charset="-122"/>
              </a:rPr>
              <a:t>，</a:t>
            </a:r>
            <a:r>
              <a:rPr lang="en-US" altLang="zh-CN" sz="1400">
                <a:solidFill>
                  <a:srgbClr val="000000"/>
                </a:solidFill>
                <a:latin typeface="Arial" pitchFamily="34" charset="0"/>
                <a:ea typeface="宋体" pitchFamily="2" charset="-122"/>
              </a:rPr>
              <a:t>Xen</a:t>
            </a:r>
            <a:r>
              <a:rPr lang="zh-CN" altLang="en-US" sz="1400">
                <a:solidFill>
                  <a:srgbClr val="000000"/>
                </a:solidFill>
                <a:latin typeface="Arial" pitchFamily="34" charset="0"/>
                <a:ea typeface="宋体" pitchFamily="2" charset="-122"/>
              </a:rPr>
              <a:t>，</a:t>
            </a:r>
            <a:r>
              <a:rPr lang="en-US" altLang="zh-CN" sz="1400">
                <a:solidFill>
                  <a:srgbClr val="000000"/>
                </a:solidFill>
                <a:latin typeface="Arial" pitchFamily="34" charset="0"/>
                <a:ea typeface="宋体" pitchFamily="2" charset="-122"/>
              </a:rPr>
              <a:t>KVM</a:t>
            </a:r>
            <a:r>
              <a:rPr lang="zh-CN" altLang="en-US" sz="1400">
                <a:solidFill>
                  <a:srgbClr val="000000"/>
                </a:solidFill>
                <a:latin typeface="Arial" pitchFamily="34" charset="0"/>
                <a:ea typeface="宋体" pitchFamily="2" charset="-122"/>
              </a:rPr>
              <a:t>，</a:t>
            </a:r>
            <a:r>
              <a:rPr lang="en-US" altLang="zh-CN" sz="1400">
                <a:solidFill>
                  <a:srgbClr val="000000"/>
                </a:solidFill>
                <a:latin typeface="Arial" pitchFamily="34" charset="0"/>
                <a:ea typeface="宋体" pitchFamily="2" charset="-122"/>
              </a:rPr>
              <a:t>Hyper-V</a:t>
            </a:r>
          </a:p>
        </p:txBody>
      </p:sp>
      <p:sp>
        <p:nvSpPr>
          <p:cNvPr id="26645" name="Rectangle 82"/>
          <p:cNvSpPr>
            <a:spLocks noChangeArrowheads="1"/>
          </p:cNvSpPr>
          <p:nvPr/>
        </p:nvSpPr>
        <p:spPr bwMode="auto">
          <a:xfrm>
            <a:off x="5930900" y="4365625"/>
            <a:ext cx="2312988" cy="304800"/>
          </a:xfrm>
          <a:prstGeom prst="rect">
            <a:avLst/>
          </a:prstGeom>
          <a:noFill/>
          <a:ln>
            <a:noFill/>
          </a:ln>
          <a:effectLst>
            <a:prstShdw prst="shdw12">
              <a:schemeClr val="bg2">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pPr>
              <a:buFontTx/>
              <a:buChar char="•"/>
            </a:pPr>
            <a:r>
              <a:rPr lang="en-US" altLang="zh-CN" sz="1400">
                <a:solidFill>
                  <a:srgbClr val="000000"/>
                </a:solidFill>
                <a:latin typeface="Arial" pitchFamily="34" charset="0"/>
                <a:ea typeface="宋体" pitchFamily="2" charset="-122"/>
              </a:rPr>
              <a:t>Parallels Virtuozzo</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0" y="15875"/>
            <a:ext cx="8201025" cy="460375"/>
          </a:xfrm>
        </p:spPr>
        <p:txBody>
          <a:bodyPr/>
          <a:lstStyle/>
          <a:p>
            <a:r>
              <a:rPr lang="en-US" altLang="zh-CN" smtClean="0"/>
              <a:t>X86</a:t>
            </a:r>
            <a:r>
              <a:rPr lang="zh-CN" altLang="en-US" smtClean="0"/>
              <a:t>服务器虚拟化技术架构</a:t>
            </a:r>
          </a:p>
        </p:txBody>
      </p:sp>
      <p:sp>
        <p:nvSpPr>
          <p:cNvPr id="27651" name="Line 56"/>
          <p:cNvSpPr>
            <a:spLocks noChangeShapeType="1"/>
          </p:cNvSpPr>
          <p:nvPr/>
        </p:nvSpPr>
        <p:spPr bwMode="auto">
          <a:xfrm>
            <a:off x="3203575" y="981075"/>
            <a:ext cx="0" cy="5257800"/>
          </a:xfrm>
          <a:prstGeom prst="line">
            <a:avLst/>
          </a:prstGeom>
          <a:noFill/>
          <a:ln w="12700">
            <a:solidFill>
              <a:schemeClr val="tx1"/>
            </a:solidFill>
            <a:prstDash val="lgDash"/>
            <a:round/>
            <a:headEnd/>
            <a:tailEnd/>
          </a:ln>
          <a:extLst>
            <a:ext uri="{909E8E84-426E-40DD-AFC4-6F175D3DCCD1}">
              <a14:hiddenFill xmlns:a14="http://schemas.microsoft.com/office/drawing/2010/main">
                <a:noFill/>
              </a14:hiddenFill>
            </a:ext>
          </a:extLst>
        </p:spPr>
        <p:txBody>
          <a:bodyPr>
            <a:spAutoFit/>
          </a:bodyPr>
          <a:lstStyle/>
          <a:p>
            <a:endParaRPr lang="zh-CN" altLang="en-US"/>
          </a:p>
        </p:txBody>
      </p:sp>
      <p:sp>
        <p:nvSpPr>
          <p:cNvPr id="27652" name="Line 57"/>
          <p:cNvSpPr>
            <a:spLocks noChangeShapeType="1"/>
          </p:cNvSpPr>
          <p:nvPr/>
        </p:nvSpPr>
        <p:spPr bwMode="auto">
          <a:xfrm>
            <a:off x="6084888" y="981075"/>
            <a:ext cx="0" cy="5257800"/>
          </a:xfrm>
          <a:prstGeom prst="line">
            <a:avLst/>
          </a:prstGeom>
          <a:noFill/>
          <a:ln w="12700">
            <a:solidFill>
              <a:schemeClr val="tx1"/>
            </a:solidFill>
            <a:prstDash val="lgDash"/>
            <a:round/>
            <a:headEnd/>
            <a:tailEnd/>
          </a:ln>
          <a:extLst>
            <a:ext uri="{909E8E84-426E-40DD-AFC4-6F175D3DCCD1}">
              <a14:hiddenFill xmlns:a14="http://schemas.microsoft.com/office/drawing/2010/main">
                <a:noFill/>
              </a14:hiddenFill>
            </a:ext>
          </a:extLst>
        </p:spPr>
        <p:txBody>
          <a:bodyPr>
            <a:spAutoFit/>
          </a:bodyPr>
          <a:lstStyle/>
          <a:p>
            <a:endParaRPr lang="zh-CN" altLang="en-US"/>
          </a:p>
        </p:txBody>
      </p:sp>
      <p:sp>
        <p:nvSpPr>
          <p:cNvPr id="54" name="矩形 53"/>
          <p:cNvSpPr/>
          <p:nvPr/>
        </p:nvSpPr>
        <p:spPr>
          <a:xfrm>
            <a:off x="684213" y="981075"/>
            <a:ext cx="5256212" cy="360363"/>
          </a:xfrm>
          <a:prstGeom prst="rect">
            <a:avLst/>
          </a:prstGeom>
          <a:solidFill>
            <a:srgbClr val="FFCCFF"/>
          </a:solidFill>
          <a:ln w="6350">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lstStyle/>
          <a:p>
            <a:pPr algn="ctr">
              <a:defRPr/>
            </a:pPr>
            <a:r>
              <a:rPr lang="zh-CN" altLang="en-US" sz="1400">
                <a:solidFill>
                  <a:srgbClr val="000000"/>
                </a:solidFill>
                <a:latin typeface="Arial" pitchFamily="34" charset="0"/>
                <a:ea typeface="华文细黑" pitchFamily="2" charset="-122"/>
              </a:rPr>
              <a:t>操作系统级虚拟化</a:t>
            </a:r>
          </a:p>
        </p:txBody>
      </p:sp>
      <p:sp>
        <p:nvSpPr>
          <p:cNvPr id="2" name="矩形 53"/>
          <p:cNvSpPr/>
          <p:nvPr/>
        </p:nvSpPr>
        <p:spPr>
          <a:xfrm>
            <a:off x="6227763" y="981075"/>
            <a:ext cx="2374900" cy="360363"/>
          </a:xfrm>
          <a:prstGeom prst="rect">
            <a:avLst/>
          </a:prstGeom>
          <a:solidFill>
            <a:srgbClr val="FFCCFF"/>
          </a:solidFill>
          <a:ln w="6350">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lstStyle/>
          <a:p>
            <a:pPr algn="ctr">
              <a:defRPr/>
            </a:pPr>
            <a:r>
              <a:rPr lang="zh-CN" altLang="en-US" sz="1400">
                <a:solidFill>
                  <a:srgbClr val="000000"/>
                </a:solidFill>
                <a:latin typeface="Arial" pitchFamily="34" charset="0"/>
                <a:ea typeface="华文细黑" pitchFamily="2" charset="-122"/>
              </a:rPr>
              <a:t>应用级虚拟化</a:t>
            </a:r>
          </a:p>
        </p:txBody>
      </p:sp>
      <p:sp>
        <p:nvSpPr>
          <p:cNvPr id="27655" name="Rectangle 7"/>
          <p:cNvSpPr>
            <a:spLocks noChangeArrowheads="1"/>
          </p:cNvSpPr>
          <p:nvPr/>
        </p:nvSpPr>
        <p:spPr bwMode="auto">
          <a:xfrm>
            <a:off x="6227763" y="3498850"/>
            <a:ext cx="2916237" cy="2781300"/>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1600">
                <a:latin typeface="Arial" pitchFamily="34" charset="0"/>
                <a:ea typeface="华文细黑" pitchFamily="2" charset="-122"/>
              </a:rPr>
              <a:t>原理：虚拟层是通过创建虚拟操作系统实例实现的，它再指向根操作系统的关键系统文件，这些指针驻留在操作系统容器受保护的内存中，提供低内存开销</a:t>
            </a:r>
          </a:p>
          <a:p>
            <a:r>
              <a:rPr lang="zh-CN" altLang="en-US" sz="1600">
                <a:latin typeface="Arial" pitchFamily="34" charset="0"/>
                <a:ea typeface="华文细黑" pitchFamily="2" charset="-122"/>
              </a:rPr>
              <a:t>应用分析：虚拟化实例的密度很大，维护效率高；但隔离性差，应用对根操作系统的破坏，其他客户机也会跟着被破坏，实际应用较少</a:t>
            </a:r>
          </a:p>
        </p:txBody>
      </p:sp>
      <p:sp>
        <p:nvSpPr>
          <p:cNvPr id="27656" name="Rectangle 8"/>
          <p:cNvSpPr>
            <a:spLocks noChangeArrowheads="1"/>
          </p:cNvSpPr>
          <p:nvPr/>
        </p:nvSpPr>
        <p:spPr bwMode="auto">
          <a:xfrm>
            <a:off x="3203575" y="3471863"/>
            <a:ext cx="2881313" cy="3270250"/>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1600">
                <a:latin typeface="Arial" pitchFamily="34" charset="0"/>
                <a:ea typeface="华文细黑" pitchFamily="2" charset="-122"/>
              </a:rPr>
              <a:t>原理：</a:t>
            </a:r>
            <a:r>
              <a:rPr lang="en-US" altLang="zh-CN" sz="1600">
                <a:latin typeface="Arial" pitchFamily="34" charset="0"/>
                <a:ea typeface="华文细黑" pitchFamily="2" charset="-122"/>
              </a:rPr>
              <a:t>hypervisor</a:t>
            </a:r>
            <a:r>
              <a:rPr lang="zh-CN" altLang="en-US" sz="1600">
                <a:latin typeface="Arial" pitchFamily="34" charset="0"/>
                <a:ea typeface="华文细黑" pitchFamily="2" charset="-122"/>
              </a:rPr>
              <a:t>通过一个软件层在现有操作系统上实现硬件虚拟化，与容器架构不一样，</a:t>
            </a:r>
            <a:r>
              <a:rPr lang="en-US" altLang="zh-CN" sz="1600">
                <a:latin typeface="Arial" pitchFamily="34" charset="0"/>
                <a:ea typeface="华文细黑" pitchFamily="2" charset="-122"/>
              </a:rPr>
              <a:t>II</a:t>
            </a:r>
            <a:r>
              <a:rPr lang="zh-CN" altLang="en-US" sz="1600">
                <a:latin typeface="Arial" pitchFamily="34" charset="0"/>
                <a:ea typeface="华文细黑" pitchFamily="2" charset="-122"/>
              </a:rPr>
              <a:t>型客户机提供了一个完整的、独立的、无依赖的客户机操作系统副本，通常利用半虚拟化驱动网络和</a:t>
            </a:r>
            <a:r>
              <a:rPr lang="en-US" altLang="zh-CN" sz="1600">
                <a:latin typeface="Arial" pitchFamily="34" charset="0"/>
                <a:ea typeface="华文细黑" pitchFamily="2" charset="-122"/>
              </a:rPr>
              <a:t>I/O</a:t>
            </a:r>
            <a:r>
              <a:rPr lang="zh-CN" altLang="en-US" sz="1600">
                <a:latin typeface="Arial" pitchFamily="34" charset="0"/>
                <a:ea typeface="华文细黑" pitchFamily="2" charset="-122"/>
              </a:rPr>
              <a:t>提高客户机性能</a:t>
            </a:r>
          </a:p>
          <a:p>
            <a:r>
              <a:rPr lang="zh-CN" altLang="en-US" sz="1600">
                <a:latin typeface="Arial" pitchFamily="34" charset="0"/>
                <a:ea typeface="华文细黑" pitchFamily="2" charset="-122"/>
              </a:rPr>
              <a:t>应用分析：由于虚拟化功能必须通过宿主操作系统，客户机的性能大大低于裸金属架构，可用于开发</a:t>
            </a:r>
            <a:r>
              <a:rPr lang="en-US" altLang="zh-CN" sz="1600">
                <a:latin typeface="Arial" pitchFamily="34" charset="0"/>
                <a:ea typeface="华文细黑" pitchFamily="2" charset="-122"/>
              </a:rPr>
              <a:t>/</a:t>
            </a:r>
            <a:r>
              <a:rPr lang="zh-CN" altLang="en-US" sz="1600">
                <a:latin typeface="Arial" pitchFamily="34" charset="0"/>
                <a:ea typeface="华文细黑" pitchFamily="2" charset="-122"/>
              </a:rPr>
              <a:t>测试或桌面类应用程序</a:t>
            </a:r>
          </a:p>
        </p:txBody>
      </p:sp>
      <p:sp>
        <p:nvSpPr>
          <p:cNvPr id="27657" name="Rectangle 9"/>
          <p:cNvSpPr>
            <a:spLocks noChangeArrowheads="1"/>
          </p:cNvSpPr>
          <p:nvPr/>
        </p:nvSpPr>
        <p:spPr bwMode="auto">
          <a:xfrm>
            <a:off x="539750" y="3500438"/>
            <a:ext cx="2519363" cy="2781300"/>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1600">
                <a:latin typeface="Arial" pitchFamily="34" charset="0"/>
                <a:ea typeface="华文细黑" pitchFamily="2" charset="-122"/>
              </a:rPr>
              <a:t>原理：该类</a:t>
            </a:r>
            <a:r>
              <a:rPr lang="en-US" altLang="zh-CN" sz="1600">
                <a:latin typeface="Arial" pitchFamily="34" charset="0"/>
                <a:ea typeface="华文细黑" pitchFamily="2" charset="-122"/>
              </a:rPr>
              <a:t>hypervisor</a:t>
            </a:r>
            <a:r>
              <a:rPr lang="zh-CN" altLang="en-US" sz="1600">
                <a:latin typeface="Arial" pitchFamily="34" charset="0"/>
                <a:ea typeface="华文细黑" pitchFamily="2" charset="-122"/>
              </a:rPr>
              <a:t>直接运行在系统硬件上，提供了更好的客户机性能。通过处理器虚拟化扩展增强，包括英特尔</a:t>
            </a:r>
            <a:r>
              <a:rPr lang="en-US" altLang="zh-CN" sz="1600">
                <a:latin typeface="Arial" pitchFamily="34" charset="0"/>
                <a:ea typeface="华文细黑" pitchFamily="2" charset="-122"/>
              </a:rPr>
              <a:t>VT</a:t>
            </a:r>
            <a:r>
              <a:rPr lang="zh-CN" altLang="en-US" sz="1600">
                <a:latin typeface="Arial" pitchFamily="34" charset="0"/>
                <a:ea typeface="华文细黑" pitchFamily="2" charset="-122"/>
              </a:rPr>
              <a:t>和</a:t>
            </a:r>
            <a:r>
              <a:rPr lang="en-US" altLang="zh-CN" sz="1600">
                <a:latin typeface="Arial" pitchFamily="34" charset="0"/>
                <a:ea typeface="华文细黑" pitchFamily="2" charset="-122"/>
              </a:rPr>
              <a:t>AMD-V</a:t>
            </a:r>
            <a:r>
              <a:rPr lang="zh-CN" altLang="en-US" sz="1600">
                <a:latin typeface="Arial" pitchFamily="34" charset="0"/>
                <a:ea typeface="华文细黑" pitchFamily="2" charset="-122"/>
              </a:rPr>
              <a:t>技术，</a:t>
            </a:r>
            <a:r>
              <a:rPr lang="en-US" altLang="zh-CN" sz="1600">
                <a:latin typeface="Arial" pitchFamily="34" charset="0"/>
                <a:ea typeface="华文细黑" pitchFamily="2" charset="-122"/>
              </a:rPr>
              <a:t>hypervisor</a:t>
            </a:r>
            <a:r>
              <a:rPr lang="zh-CN" altLang="en-US" sz="1600">
                <a:latin typeface="Arial" pitchFamily="34" charset="0"/>
                <a:ea typeface="华文细黑" pitchFamily="2" charset="-122"/>
              </a:rPr>
              <a:t>的性能得到大幅度提升</a:t>
            </a:r>
          </a:p>
          <a:p>
            <a:r>
              <a:rPr lang="zh-CN" altLang="en-US" sz="1600">
                <a:latin typeface="Arial" pitchFamily="34" charset="0"/>
                <a:ea typeface="华文细黑" pitchFamily="2" charset="-122"/>
              </a:rPr>
              <a:t>应用分析：隔离性和性能表现均衡，目前是</a:t>
            </a:r>
            <a:r>
              <a:rPr lang="en-US" altLang="zh-CN" sz="1600">
                <a:latin typeface="Arial" pitchFamily="34" charset="0"/>
                <a:ea typeface="华文细黑" pitchFamily="2" charset="-122"/>
              </a:rPr>
              <a:t>X86</a:t>
            </a:r>
            <a:r>
              <a:rPr lang="zh-CN" altLang="en-US" sz="1600">
                <a:latin typeface="Arial" pitchFamily="34" charset="0"/>
                <a:ea typeface="华文细黑" pitchFamily="2" charset="-122"/>
              </a:rPr>
              <a:t>服务器虚拟化</a:t>
            </a:r>
            <a:r>
              <a:rPr lang="zh-CN" altLang="en-US" sz="1600">
                <a:solidFill>
                  <a:srgbClr val="FF0000"/>
                </a:solidFill>
                <a:latin typeface="Arial" pitchFamily="34" charset="0"/>
                <a:ea typeface="华文细黑" pitchFamily="2" charset="-122"/>
              </a:rPr>
              <a:t>企业应用的主流选择</a:t>
            </a:r>
          </a:p>
        </p:txBody>
      </p:sp>
      <p:grpSp>
        <p:nvGrpSpPr>
          <p:cNvPr id="27658" name="组合 82"/>
          <p:cNvGrpSpPr>
            <a:grpSpLocks/>
          </p:cNvGrpSpPr>
          <p:nvPr/>
        </p:nvGrpSpPr>
        <p:grpSpPr bwMode="auto">
          <a:xfrm>
            <a:off x="1042988" y="1628775"/>
            <a:ext cx="1377950" cy="1130300"/>
            <a:chOff x="2857488" y="4393554"/>
            <a:chExt cx="1571629" cy="1706306"/>
          </a:xfrm>
        </p:grpSpPr>
        <p:sp>
          <p:nvSpPr>
            <p:cNvPr id="3" name="矩形 83"/>
            <p:cNvSpPr/>
            <p:nvPr/>
          </p:nvSpPr>
          <p:spPr bwMode="auto">
            <a:xfrm>
              <a:off x="2916499" y="4476758"/>
              <a:ext cx="650327" cy="403277"/>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1</a:t>
              </a:r>
            </a:p>
          </p:txBody>
        </p:sp>
        <p:sp>
          <p:nvSpPr>
            <p:cNvPr id="4" name="矩形 84"/>
            <p:cNvSpPr/>
            <p:nvPr/>
          </p:nvSpPr>
          <p:spPr bwMode="auto">
            <a:xfrm>
              <a:off x="2916499" y="4954549"/>
              <a:ext cx="650327" cy="403277"/>
            </a:xfrm>
            <a:prstGeom prst="rect">
              <a:avLst/>
            </a:prstGeom>
            <a:solidFill>
              <a:srgbClr val="FFCC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OS1</a:t>
              </a:r>
            </a:p>
          </p:txBody>
        </p:sp>
        <p:sp>
          <p:nvSpPr>
            <p:cNvPr id="5" name="矩形 85"/>
            <p:cNvSpPr/>
            <p:nvPr/>
          </p:nvSpPr>
          <p:spPr bwMode="auto">
            <a:xfrm>
              <a:off x="3737844" y="4476758"/>
              <a:ext cx="650327" cy="403277"/>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2</a:t>
              </a:r>
            </a:p>
          </p:txBody>
        </p:sp>
        <p:sp>
          <p:nvSpPr>
            <p:cNvPr id="6" name="矩形 86"/>
            <p:cNvSpPr/>
            <p:nvPr/>
          </p:nvSpPr>
          <p:spPr bwMode="auto">
            <a:xfrm>
              <a:off x="3737844" y="4954549"/>
              <a:ext cx="650327" cy="403277"/>
            </a:xfrm>
            <a:prstGeom prst="rect">
              <a:avLst/>
            </a:prstGeom>
            <a:solidFill>
              <a:srgbClr val="FFCC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OS2</a:t>
              </a:r>
            </a:p>
          </p:txBody>
        </p:sp>
        <p:sp>
          <p:nvSpPr>
            <p:cNvPr id="7" name="矩形 87"/>
            <p:cNvSpPr/>
            <p:nvPr/>
          </p:nvSpPr>
          <p:spPr>
            <a:xfrm>
              <a:off x="2911278" y="5786454"/>
              <a:ext cx="1462320" cy="313406"/>
            </a:xfrm>
            <a:prstGeom prst="rect">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HW</a:t>
              </a:r>
            </a:p>
          </p:txBody>
        </p:sp>
        <p:sp>
          <p:nvSpPr>
            <p:cNvPr id="8" name="矩形 88"/>
            <p:cNvSpPr/>
            <p:nvPr/>
          </p:nvSpPr>
          <p:spPr>
            <a:xfrm>
              <a:off x="2857488" y="4393554"/>
              <a:ext cx="758654" cy="999340"/>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sp>
          <p:nvSpPr>
            <p:cNvPr id="9" name="矩形 89"/>
            <p:cNvSpPr/>
            <p:nvPr/>
          </p:nvSpPr>
          <p:spPr>
            <a:xfrm>
              <a:off x="3670461" y="4393554"/>
              <a:ext cx="758656" cy="999340"/>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sp>
          <p:nvSpPr>
            <p:cNvPr id="10" name="矩形 90"/>
            <p:cNvSpPr/>
            <p:nvPr/>
          </p:nvSpPr>
          <p:spPr>
            <a:xfrm>
              <a:off x="2921323" y="5429264"/>
              <a:ext cx="1452129" cy="285752"/>
            </a:xfrm>
            <a:prstGeom prst="rect">
              <a:avLst/>
            </a:prstGeom>
            <a:solidFill>
              <a:schemeClr val="accent2">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VMM</a:t>
              </a:r>
            </a:p>
          </p:txBody>
        </p:sp>
      </p:grpSp>
      <p:grpSp>
        <p:nvGrpSpPr>
          <p:cNvPr id="27659" name="Group 31"/>
          <p:cNvGrpSpPr>
            <a:grpSpLocks/>
          </p:cNvGrpSpPr>
          <p:nvPr/>
        </p:nvGrpSpPr>
        <p:grpSpPr bwMode="auto">
          <a:xfrm>
            <a:off x="3851275" y="1484313"/>
            <a:ext cx="1519238" cy="1584325"/>
            <a:chOff x="68" y="3294"/>
            <a:chExt cx="957" cy="998"/>
          </a:xfrm>
        </p:grpSpPr>
        <p:sp>
          <p:nvSpPr>
            <p:cNvPr id="84" name="矩形 83"/>
            <p:cNvSpPr/>
            <p:nvPr/>
          </p:nvSpPr>
          <p:spPr bwMode="auto">
            <a:xfrm>
              <a:off x="145" y="3342"/>
              <a:ext cx="360" cy="168"/>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1</a:t>
              </a:r>
            </a:p>
          </p:txBody>
        </p:sp>
        <p:sp>
          <p:nvSpPr>
            <p:cNvPr id="85" name="矩形 84"/>
            <p:cNvSpPr/>
            <p:nvPr/>
          </p:nvSpPr>
          <p:spPr bwMode="auto">
            <a:xfrm>
              <a:off x="145" y="3541"/>
              <a:ext cx="360" cy="168"/>
            </a:xfrm>
            <a:prstGeom prst="rect">
              <a:avLst/>
            </a:prstGeom>
            <a:solidFill>
              <a:srgbClr val="FFCC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OS1</a:t>
              </a:r>
            </a:p>
          </p:txBody>
        </p:sp>
        <p:sp>
          <p:nvSpPr>
            <p:cNvPr id="86" name="矩形 85"/>
            <p:cNvSpPr/>
            <p:nvPr/>
          </p:nvSpPr>
          <p:spPr bwMode="auto">
            <a:xfrm>
              <a:off x="599" y="3342"/>
              <a:ext cx="360" cy="168"/>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2</a:t>
              </a:r>
            </a:p>
          </p:txBody>
        </p:sp>
        <p:sp>
          <p:nvSpPr>
            <p:cNvPr id="87" name="矩形 86"/>
            <p:cNvSpPr/>
            <p:nvPr/>
          </p:nvSpPr>
          <p:spPr bwMode="auto">
            <a:xfrm>
              <a:off x="599" y="3541"/>
              <a:ext cx="360" cy="168"/>
            </a:xfrm>
            <a:prstGeom prst="rect">
              <a:avLst/>
            </a:prstGeom>
            <a:solidFill>
              <a:srgbClr val="FFCC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OS2</a:t>
              </a:r>
            </a:p>
          </p:txBody>
        </p:sp>
        <p:sp>
          <p:nvSpPr>
            <p:cNvPr id="88" name="矩形 87"/>
            <p:cNvSpPr/>
            <p:nvPr/>
          </p:nvSpPr>
          <p:spPr>
            <a:xfrm>
              <a:off x="143" y="4106"/>
              <a:ext cx="807" cy="130"/>
            </a:xfrm>
            <a:prstGeom prst="rect">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HW</a:t>
              </a:r>
            </a:p>
          </p:txBody>
        </p:sp>
        <p:sp>
          <p:nvSpPr>
            <p:cNvPr id="89" name="矩形 88"/>
            <p:cNvSpPr/>
            <p:nvPr/>
          </p:nvSpPr>
          <p:spPr>
            <a:xfrm>
              <a:off x="113" y="3307"/>
              <a:ext cx="419" cy="417"/>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sp>
          <p:nvSpPr>
            <p:cNvPr id="90" name="矩形 89"/>
            <p:cNvSpPr/>
            <p:nvPr/>
          </p:nvSpPr>
          <p:spPr>
            <a:xfrm>
              <a:off x="562" y="3307"/>
              <a:ext cx="419" cy="417"/>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sp>
          <p:nvSpPr>
            <p:cNvPr id="11" name="矩形 90"/>
            <p:cNvSpPr/>
            <p:nvPr/>
          </p:nvSpPr>
          <p:spPr>
            <a:xfrm>
              <a:off x="149" y="3754"/>
              <a:ext cx="801" cy="119"/>
            </a:xfrm>
            <a:prstGeom prst="rect">
              <a:avLst/>
            </a:prstGeom>
            <a:solidFill>
              <a:schemeClr val="accent2">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VMM</a:t>
              </a:r>
            </a:p>
          </p:txBody>
        </p:sp>
        <p:sp>
          <p:nvSpPr>
            <p:cNvPr id="12" name="矩形 71"/>
            <p:cNvSpPr/>
            <p:nvPr/>
          </p:nvSpPr>
          <p:spPr bwMode="auto">
            <a:xfrm>
              <a:off x="139" y="3924"/>
              <a:ext cx="816" cy="140"/>
            </a:xfrm>
            <a:prstGeom prst="rect">
              <a:avLst/>
            </a:prstGeom>
            <a:solidFill>
              <a:srgbClr val="FFCC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HOST OS</a:t>
              </a:r>
            </a:p>
          </p:txBody>
        </p:sp>
      </p:grpSp>
      <p:grpSp>
        <p:nvGrpSpPr>
          <p:cNvPr id="27660" name="Group 55"/>
          <p:cNvGrpSpPr>
            <a:grpSpLocks/>
          </p:cNvGrpSpPr>
          <p:nvPr/>
        </p:nvGrpSpPr>
        <p:grpSpPr bwMode="auto">
          <a:xfrm>
            <a:off x="6877050" y="1558925"/>
            <a:ext cx="1490663" cy="1509713"/>
            <a:chOff x="5290" y="981"/>
            <a:chExt cx="939" cy="951"/>
          </a:xfrm>
        </p:grpSpPr>
        <p:sp>
          <p:nvSpPr>
            <p:cNvPr id="67" name="矩形 66"/>
            <p:cNvSpPr/>
            <p:nvPr/>
          </p:nvSpPr>
          <p:spPr bwMode="auto">
            <a:xfrm>
              <a:off x="5382" y="1031"/>
              <a:ext cx="338" cy="168"/>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1</a:t>
              </a:r>
            </a:p>
          </p:txBody>
        </p:sp>
        <p:sp>
          <p:nvSpPr>
            <p:cNvPr id="68" name="矩形 67"/>
            <p:cNvSpPr/>
            <p:nvPr/>
          </p:nvSpPr>
          <p:spPr bwMode="auto">
            <a:xfrm>
              <a:off x="5809" y="1031"/>
              <a:ext cx="338" cy="168"/>
            </a:xfrm>
            <a:prstGeom prst="rect">
              <a:avLst/>
            </a:prstGeom>
            <a:solidFill>
              <a:schemeClr val="accent1">
                <a:lumMod val="9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App2</a:t>
              </a:r>
            </a:p>
          </p:txBody>
        </p:sp>
        <p:sp>
          <p:nvSpPr>
            <p:cNvPr id="69" name="矩形 68"/>
            <p:cNvSpPr/>
            <p:nvPr/>
          </p:nvSpPr>
          <p:spPr>
            <a:xfrm>
              <a:off x="5389" y="1611"/>
              <a:ext cx="761" cy="266"/>
            </a:xfrm>
            <a:prstGeom prst="rect">
              <a:avLst/>
            </a:prstGeom>
            <a:solidFill>
              <a:srgbClr val="7030A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HW</a:t>
              </a:r>
            </a:p>
          </p:txBody>
        </p:sp>
        <p:sp>
          <p:nvSpPr>
            <p:cNvPr id="70" name="矩形 69"/>
            <p:cNvSpPr/>
            <p:nvPr/>
          </p:nvSpPr>
          <p:spPr>
            <a:xfrm>
              <a:off x="5351" y="981"/>
              <a:ext cx="409" cy="238"/>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sp>
          <p:nvSpPr>
            <p:cNvPr id="71" name="矩形 70"/>
            <p:cNvSpPr/>
            <p:nvPr/>
          </p:nvSpPr>
          <p:spPr>
            <a:xfrm>
              <a:off x="5760" y="981"/>
              <a:ext cx="408" cy="238"/>
            </a:xfrm>
            <a:prstGeom prst="rect">
              <a:avLst/>
            </a:prstGeom>
            <a:noFill/>
            <a:ln w="3175">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000">
                <a:solidFill>
                  <a:srgbClr val="FFFFFF"/>
                </a:solidFill>
                <a:latin typeface="Arial" pitchFamily="34" charset="0"/>
                <a:ea typeface="华文细黑" pitchFamily="2" charset="-122"/>
              </a:endParaRPr>
            </a:p>
          </p:txBody>
        </p:sp>
        <p:sp>
          <p:nvSpPr>
            <p:cNvPr id="72" name="矩形 71"/>
            <p:cNvSpPr/>
            <p:nvPr/>
          </p:nvSpPr>
          <p:spPr bwMode="auto">
            <a:xfrm>
              <a:off x="5382" y="1411"/>
              <a:ext cx="768" cy="168"/>
            </a:xfrm>
            <a:prstGeom prst="rect">
              <a:avLst/>
            </a:prstGeom>
            <a:solidFill>
              <a:srgbClr val="FFCC99"/>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OS</a:t>
              </a:r>
            </a:p>
          </p:txBody>
        </p:sp>
        <p:sp>
          <p:nvSpPr>
            <p:cNvPr id="91" name="矩形 90"/>
            <p:cNvSpPr/>
            <p:nvPr/>
          </p:nvSpPr>
          <p:spPr>
            <a:xfrm>
              <a:off x="5360" y="1261"/>
              <a:ext cx="801" cy="119"/>
            </a:xfrm>
            <a:prstGeom prst="rect">
              <a:avLst/>
            </a:prstGeom>
            <a:solidFill>
              <a:schemeClr val="accent2">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lgn="ctr">
                <a:defRPr/>
              </a:pPr>
              <a:r>
                <a:rPr lang="en-US" altLang="zh-CN" sz="1000" smtClean="0">
                  <a:solidFill>
                    <a:srgbClr val="FFFFFF"/>
                  </a:solidFill>
                  <a:latin typeface="Arial" pitchFamily="34" charset="0"/>
                  <a:ea typeface="华文细黑" pitchFamily="2" charset="-122"/>
                </a:rPr>
                <a:t>OS Virtualization</a:t>
              </a:r>
            </a:p>
          </p:txBody>
        </p:sp>
      </p:grpSp>
      <p:sp>
        <p:nvSpPr>
          <p:cNvPr id="27661" name="TextBox 5"/>
          <p:cNvSpPr txBox="1">
            <a:spLocks noChangeArrowheads="1"/>
          </p:cNvSpPr>
          <p:nvPr/>
        </p:nvSpPr>
        <p:spPr bwMode="auto">
          <a:xfrm>
            <a:off x="647700" y="3068638"/>
            <a:ext cx="22685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r>
              <a:rPr lang="en-US" altLang="zh-CN" sz="1400">
                <a:latin typeface="Arial" pitchFamily="34" charset="0"/>
                <a:ea typeface="宋体" pitchFamily="2" charset="-122"/>
              </a:rPr>
              <a:t>Type I</a:t>
            </a:r>
            <a:r>
              <a:rPr lang="zh-CN" altLang="en-US" sz="1400">
                <a:latin typeface="Arial" pitchFamily="34" charset="0"/>
                <a:ea typeface="宋体" pitchFamily="2" charset="-122"/>
              </a:rPr>
              <a:t>：裸金属架构</a:t>
            </a:r>
          </a:p>
        </p:txBody>
      </p:sp>
      <p:sp>
        <p:nvSpPr>
          <p:cNvPr id="27662" name="TextBox 5"/>
          <p:cNvSpPr txBox="1">
            <a:spLocks noChangeArrowheads="1"/>
          </p:cNvSpPr>
          <p:nvPr/>
        </p:nvSpPr>
        <p:spPr bwMode="auto">
          <a:xfrm>
            <a:off x="3455988" y="3068638"/>
            <a:ext cx="22685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r>
              <a:rPr lang="en-US" altLang="zh-CN" sz="1400">
                <a:latin typeface="Arial" pitchFamily="34" charset="0"/>
                <a:ea typeface="宋体" pitchFamily="2" charset="-122"/>
              </a:rPr>
              <a:t>TypeII</a:t>
            </a:r>
            <a:r>
              <a:rPr lang="zh-CN" altLang="en-US" sz="1400">
                <a:latin typeface="Arial" pitchFamily="34" charset="0"/>
                <a:ea typeface="宋体" pitchFamily="2" charset="-122"/>
              </a:rPr>
              <a:t>：寄居架构</a:t>
            </a:r>
          </a:p>
        </p:txBody>
      </p:sp>
      <p:sp>
        <p:nvSpPr>
          <p:cNvPr id="27663" name="TextBox 5"/>
          <p:cNvSpPr txBox="1">
            <a:spLocks noChangeArrowheads="1"/>
          </p:cNvSpPr>
          <p:nvPr/>
        </p:nvSpPr>
        <p:spPr bwMode="auto">
          <a:xfrm>
            <a:off x="6480175" y="3068638"/>
            <a:ext cx="22685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r>
              <a:rPr lang="zh-CN" altLang="en-US" sz="1400">
                <a:latin typeface="Arial" pitchFamily="34" charset="0"/>
                <a:ea typeface="宋体" pitchFamily="2" charset="-122"/>
              </a:rPr>
              <a:t>容器架构</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标题 1"/>
          <p:cNvSpPr>
            <a:spLocks noGrp="1"/>
          </p:cNvSpPr>
          <p:nvPr>
            <p:ph type="title"/>
          </p:nvPr>
        </p:nvSpPr>
        <p:spPr>
          <a:xfrm>
            <a:off x="0" y="15875"/>
            <a:ext cx="8201025" cy="460375"/>
          </a:xfrm>
        </p:spPr>
        <p:txBody>
          <a:bodyPr/>
          <a:lstStyle/>
          <a:p>
            <a:r>
              <a:rPr lang="zh-CN" altLang="en-US" smtClean="0"/>
              <a:t>云计算起源</a:t>
            </a:r>
          </a:p>
        </p:txBody>
      </p:sp>
      <p:sp>
        <p:nvSpPr>
          <p:cNvPr id="10243" name="内容占位符 2"/>
          <p:cNvSpPr>
            <a:spLocks noGrp="1"/>
          </p:cNvSpPr>
          <p:nvPr>
            <p:ph idx="1"/>
          </p:nvPr>
        </p:nvSpPr>
        <p:spPr/>
        <p:txBody>
          <a:bodyPr/>
          <a:lstStyle/>
          <a:p>
            <a:r>
              <a:rPr lang="zh-CN" altLang="en-US" b="0" smtClean="0"/>
              <a:t>云计算这个概念的直接起源来自亚马逊</a:t>
            </a:r>
            <a:r>
              <a:rPr lang="en-US" altLang="zh-CN" b="0" smtClean="0"/>
              <a:t>EC2</a:t>
            </a:r>
            <a:r>
              <a:rPr lang="zh-CN" altLang="en-US" b="0" smtClean="0"/>
              <a:t>产品和</a:t>
            </a:r>
            <a:r>
              <a:rPr lang="en-US" altLang="zh-CN" b="0" smtClean="0"/>
              <a:t>Google-IBM</a:t>
            </a:r>
            <a:r>
              <a:rPr lang="zh-CN" altLang="en-US" b="0" smtClean="0"/>
              <a:t>分布式计算项目。这两个项目中直接使用到了云计算这个概念和单词。为什么要采用这个单词，很大程度上与这两个项目与网络的关系十分密切，而“云”在很多示意图里面是表示互联网的，云计算的原始含义即将计算能力放在互联网上。</a:t>
            </a:r>
            <a:endParaRPr lang="zh-CN" altLang="en-US" smtClean="0"/>
          </a:p>
        </p:txBody>
      </p:sp>
      <p:pic>
        <p:nvPicPr>
          <p:cNvPr id="10244" name="Picture 42"/>
          <p:cNvPicPr>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auto">
          <a:xfrm>
            <a:off x="971550" y="3238500"/>
            <a:ext cx="2205038"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5" name="Picture 44"/>
          <p:cNvPicPr>
            <a:picLocks noChangeAspect="1" noChangeArrowheads="1"/>
          </p:cNvPicPr>
          <p:nvPr>
            <p:custDataLst>
              <p:tags r:id="rId2"/>
            </p:custDataLst>
          </p:nvPr>
        </p:nvPicPr>
        <p:blipFill>
          <a:blip r:embed="rId6">
            <a:extLst>
              <a:ext uri="{28A0092B-C50C-407E-A947-70E740481C1C}">
                <a14:useLocalDpi xmlns:a14="http://schemas.microsoft.com/office/drawing/2010/main" val="0"/>
              </a:ext>
            </a:extLst>
          </a:blip>
          <a:srcRect/>
          <a:stretch>
            <a:fillRect/>
          </a:stretch>
        </p:blipFill>
        <p:spPr bwMode="auto">
          <a:xfrm>
            <a:off x="6804025" y="3300413"/>
            <a:ext cx="1643063" cy="766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23" descr="IBM"/>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83138" y="3322638"/>
            <a:ext cx="2020887" cy="80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标题 1"/>
          <p:cNvSpPr>
            <a:spLocks noGrp="1"/>
          </p:cNvSpPr>
          <p:nvPr>
            <p:ph type="title"/>
          </p:nvPr>
        </p:nvSpPr>
        <p:spPr>
          <a:xfrm>
            <a:off x="0" y="15875"/>
            <a:ext cx="8201025" cy="460375"/>
          </a:xfrm>
        </p:spPr>
        <p:txBody>
          <a:bodyPr/>
          <a:lstStyle/>
          <a:p>
            <a:r>
              <a:rPr lang="zh-CN" altLang="en-US" smtClean="0"/>
              <a:t>云计算基础设施关键技术</a:t>
            </a:r>
            <a:r>
              <a:rPr lang="en-US" altLang="zh-CN" smtClean="0"/>
              <a:t>——</a:t>
            </a:r>
            <a:r>
              <a:rPr lang="zh-CN" altLang="en-US" smtClean="0"/>
              <a:t>存储技术</a:t>
            </a:r>
          </a:p>
        </p:txBody>
      </p:sp>
      <p:sp>
        <p:nvSpPr>
          <p:cNvPr id="5" name="Rounded Rectangle 3"/>
          <p:cNvSpPr>
            <a:spLocks noChangeArrowheads="1"/>
          </p:cNvSpPr>
          <p:nvPr/>
        </p:nvSpPr>
        <p:spPr bwMode="auto">
          <a:xfrm>
            <a:off x="4921250" y="1947863"/>
            <a:ext cx="3694113" cy="373062"/>
          </a:xfrm>
          <a:prstGeom prst="roundRect">
            <a:avLst>
              <a:gd name="adj" fmla="val 16667"/>
            </a:avLst>
          </a:prstGeom>
          <a:noFill/>
          <a:ln w="25400" algn="ctr">
            <a:noFill/>
            <a:round/>
            <a:headEnd/>
            <a:tailEnd/>
          </a:ln>
        </p:spPr>
        <p:txBody>
          <a:bodyPr/>
          <a:lstStyle/>
          <a:p>
            <a:pPr indent="-228600" fontAlgn="auto">
              <a:spcBef>
                <a:spcPct val="20000"/>
              </a:spcBef>
              <a:spcAft>
                <a:spcPts val="0"/>
              </a:spcAft>
              <a:buClr>
                <a:srgbClr val="6699CC"/>
              </a:buClr>
              <a:tabLst>
                <a:tab pos="571500" algn="l"/>
              </a:tabLst>
              <a:defRPr/>
            </a:pPr>
            <a:r>
              <a:rPr lang="zh-CN" altLang="en-US" sz="1400" dirty="0">
                <a:latin typeface="+mj-ea"/>
                <a:ea typeface="+mj-ea"/>
              </a:rPr>
              <a:t>分布式云存储：易管理，低成本，高可扩展</a:t>
            </a:r>
            <a:endParaRPr lang="en-US" altLang="en-US" sz="1400" dirty="0">
              <a:latin typeface="+mj-ea"/>
              <a:ea typeface="+mj-ea"/>
            </a:endParaRPr>
          </a:p>
        </p:txBody>
      </p:sp>
      <p:sp>
        <p:nvSpPr>
          <p:cNvPr id="6" name="TextBox 83"/>
          <p:cNvSpPr txBox="1">
            <a:spLocks noChangeArrowheads="1"/>
          </p:cNvSpPr>
          <p:nvPr/>
        </p:nvSpPr>
        <p:spPr bwMode="auto">
          <a:xfrm>
            <a:off x="295275" y="2263775"/>
            <a:ext cx="3781425" cy="738188"/>
          </a:xfrm>
          <a:prstGeom prst="rect">
            <a:avLst/>
          </a:prstGeom>
          <a:noFill/>
          <a:ln w="9525">
            <a:noFill/>
            <a:miter lim="800000"/>
            <a:headEnd/>
            <a:tailEnd/>
          </a:ln>
        </p:spPr>
        <p:txBody>
          <a:bodyPr>
            <a:spAutoFit/>
          </a:bodyPr>
          <a:lstStyle/>
          <a:p>
            <a:pPr>
              <a:defRPr/>
            </a:pPr>
            <a:r>
              <a:rPr lang="zh-CN" altLang="en-US" sz="1400" dirty="0">
                <a:solidFill>
                  <a:srgbClr val="333333"/>
                </a:solidFill>
                <a:latin typeface="+mj-ea"/>
                <a:ea typeface="+mj-ea"/>
                <a:cs typeface="新宋体-18030"/>
              </a:rPr>
              <a:t>利用专有的、定制设计的硬件组件和互连接口，专门设计集成在一起的，以实现目标设计的性能和可靠性目标</a:t>
            </a:r>
            <a:endParaRPr lang="en-US" altLang="zh-CN" sz="1400" dirty="0">
              <a:solidFill>
                <a:srgbClr val="333333"/>
              </a:solidFill>
              <a:latin typeface="+mj-ea"/>
              <a:ea typeface="+mj-ea"/>
              <a:cs typeface="新宋体-18030"/>
            </a:endParaRPr>
          </a:p>
        </p:txBody>
      </p:sp>
      <p:sp>
        <p:nvSpPr>
          <p:cNvPr id="7" name="TextBox 83"/>
          <p:cNvSpPr txBox="1">
            <a:spLocks noChangeArrowheads="1"/>
          </p:cNvSpPr>
          <p:nvPr/>
        </p:nvSpPr>
        <p:spPr bwMode="auto">
          <a:xfrm>
            <a:off x="4872038" y="2290763"/>
            <a:ext cx="3852862" cy="738187"/>
          </a:xfrm>
          <a:prstGeom prst="rect">
            <a:avLst/>
          </a:prstGeom>
          <a:noFill/>
          <a:ln w="9525">
            <a:noFill/>
            <a:miter lim="800000"/>
            <a:headEnd/>
            <a:tailEnd/>
          </a:ln>
        </p:spPr>
        <p:txBody>
          <a:bodyPr>
            <a:spAutoFit/>
          </a:bodyPr>
          <a:lstStyle/>
          <a:p>
            <a:pPr>
              <a:defRPr/>
            </a:pPr>
            <a:r>
              <a:rPr lang="zh-CN" altLang="en-US" sz="1400" dirty="0">
                <a:solidFill>
                  <a:srgbClr val="333333"/>
                </a:solidFill>
                <a:latin typeface="+mj-ea"/>
                <a:ea typeface="+mj-ea"/>
                <a:cs typeface="新宋体-18030"/>
              </a:rPr>
              <a:t>采用标准</a:t>
            </a:r>
            <a:r>
              <a:rPr lang="en-US" altLang="zh-CN" sz="1400" dirty="0">
                <a:solidFill>
                  <a:srgbClr val="333333"/>
                </a:solidFill>
                <a:latin typeface="+mj-ea"/>
                <a:ea typeface="+mj-ea"/>
                <a:cs typeface="新宋体-18030"/>
              </a:rPr>
              <a:t>X86</a:t>
            </a:r>
            <a:r>
              <a:rPr lang="zh-CN" altLang="en-US" sz="1400" dirty="0">
                <a:solidFill>
                  <a:srgbClr val="333333"/>
                </a:solidFill>
                <a:latin typeface="+mj-ea"/>
                <a:ea typeface="+mj-ea"/>
                <a:cs typeface="新宋体-18030"/>
              </a:rPr>
              <a:t>架构服务器大规模集群实现，每个模块都是一个离散的处理单元，所有的模块都通过一个可扩展的网络进行连接</a:t>
            </a:r>
            <a:endParaRPr lang="en-US" altLang="zh-CN" sz="1400" dirty="0">
              <a:solidFill>
                <a:srgbClr val="333333"/>
              </a:solidFill>
              <a:latin typeface="+mj-ea"/>
              <a:ea typeface="+mj-ea"/>
              <a:cs typeface="新宋体-18030"/>
            </a:endParaRPr>
          </a:p>
        </p:txBody>
      </p:sp>
      <p:sp>
        <p:nvSpPr>
          <p:cNvPr id="8" name="Isosceles Triangle 98"/>
          <p:cNvSpPr/>
          <p:nvPr/>
        </p:nvSpPr>
        <p:spPr>
          <a:xfrm rot="5400000">
            <a:off x="4079875" y="3427413"/>
            <a:ext cx="857250" cy="571500"/>
          </a:xfrm>
          <a:prstGeom prst="triangle">
            <a:avLst/>
          </a:prstGeom>
          <a:gradFill flip="none" rotWithShape="1">
            <a:gsLst>
              <a:gs pos="0">
                <a:srgbClr val="8488C4"/>
              </a:gs>
              <a:gs pos="53000">
                <a:srgbClr val="D4DEFF"/>
              </a:gs>
              <a:gs pos="83000">
                <a:srgbClr val="D4DEFF"/>
              </a:gs>
              <a:gs pos="100000">
                <a:srgbClr val="96AB94"/>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800"/>
          </a:p>
        </p:txBody>
      </p:sp>
      <p:sp>
        <p:nvSpPr>
          <p:cNvPr id="9" name="TextBox 8"/>
          <p:cNvSpPr txBox="1"/>
          <p:nvPr/>
        </p:nvSpPr>
        <p:spPr>
          <a:xfrm>
            <a:off x="261682" y="3285027"/>
            <a:ext cx="3816424" cy="954107"/>
          </a:xfrm>
          <a:prstGeom prst="rect">
            <a:avLst/>
          </a:prstGeom>
          <a:solidFill>
            <a:schemeClr val="bg1"/>
          </a:solidFill>
          <a:ln>
            <a:solidFill>
              <a:srgbClr val="00B050"/>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spAutoFit/>
          </a:bodyPr>
          <a:lstStyle/>
          <a:p>
            <a:pPr fontAlgn="auto">
              <a:spcBef>
                <a:spcPts val="0"/>
              </a:spcBef>
              <a:spcAft>
                <a:spcPts val="0"/>
              </a:spcAft>
              <a:defRPr/>
            </a:pPr>
            <a:r>
              <a:rPr lang="zh-CN" altLang="en-US" sz="1400" dirty="0">
                <a:latin typeface="+mn-lt"/>
                <a:ea typeface="华文细黑" pitchFamily="2" charset="-122"/>
              </a:rPr>
              <a:t>出于成本及开放性的要求，分布式存储在今后几年的时间内将部分取代传统盘阵存储，该过程正在从非关键性数据和文件存储领域扩展到较关键的数据库存储领域</a:t>
            </a:r>
          </a:p>
        </p:txBody>
      </p:sp>
      <p:sp>
        <p:nvSpPr>
          <p:cNvPr id="10" name="TextBox 9"/>
          <p:cNvSpPr txBox="1"/>
          <p:nvPr/>
        </p:nvSpPr>
        <p:spPr>
          <a:xfrm>
            <a:off x="4870194" y="3285027"/>
            <a:ext cx="3816424" cy="954107"/>
          </a:xfrm>
          <a:prstGeom prst="rect">
            <a:avLst/>
          </a:prstGeom>
          <a:solidFill>
            <a:schemeClr val="bg1"/>
          </a:solidFill>
          <a:ln>
            <a:solidFill>
              <a:srgbClr val="00B050"/>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spAutoFit/>
          </a:bodyPr>
          <a:lstStyle>
            <a:lvl1pPr>
              <a:defRPr sz="2400">
                <a:solidFill>
                  <a:schemeClr val="tx1"/>
                </a:solidFill>
                <a:latin typeface="Times New Roman" pitchFamily="18" charset="0"/>
                <a:ea typeface="宋体" pitchFamily="2" charset="-122"/>
              </a:defRPr>
            </a:lvl1pPr>
            <a:lvl2pPr marL="742950" indent="-285750">
              <a:defRPr sz="2400">
                <a:solidFill>
                  <a:schemeClr val="tx1"/>
                </a:solidFill>
                <a:latin typeface="Times New Roman" pitchFamily="18" charset="0"/>
                <a:ea typeface="宋体" pitchFamily="2" charset="-122"/>
              </a:defRPr>
            </a:lvl2pPr>
            <a:lvl3pPr marL="1143000" indent="-228600">
              <a:defRPr sz="2400">
                <a:solidFill>
                  <a:schemeClr val="tx1"/>
                </a:solidFill>
                <a:latin typeface="Times New Roman" pitchFamily="18" charset="0"/>
                <a:ea typeface="宋体" pitchFamily="2" charset="-122"/>
              </a:defRPr>
            </a:lvl3pPr>
            <a:lvl4pPr marL="1600200" indent="-228600">
              <a:defRPr sz="2400">
                <a:solidFill>
                  <a:schemeClr val="tx1"/>
                </a:solidFill>
                <a:latin typeface="Times New Roman" pitchFamily="18" charset="0"/>
                <a:ea typeface="宋体" pitchFamily="2" charset="-122"/>
              </a:defRPr>
            </a:lvl4pPr>
            <a:lvl5pPr marL="2057400" indent="-228600">
              <a:defRPr sz="2400">
                <a:solidFill>
                  <a:schemeClr val="tx1"/>
                </a:solidFill>
                <a:latin typeface="Times New Roman" pitchFamily="18" charset="0"/>
                <a:ea typeface="宋体" pitchFamily="2" charset="-122"/>
              </a:defRPr>
            </a:lvl5pPr>
            <a:lvl6pPr marL="2514600" indent="-228600" fontAlgn="base">
              <a:spcBef>
                <a:spcPct val="0"/>
              </a:spcBef>
              <a:spcAft>
                <a:spcPct val="0"/>
              </a:spcAft>
              <a:defRPr sz="2400">
                <a:solidFill>
                  <a:schemeClr val="tx1"/>
                </a:solidFill>
                <a:latin typeface="Times New Roman" pitchFamily="18" charset="0"/>
                <a:ea typeface="宋体" pitchFamily="2" charset="-122"/>
              </a:defRPr>
            </a:lvl6pPr>
            <a:lvl7pPr marL="2971800" indent="-228600" fontAlgn="base">
              <a:spcBef>
                <a:spcPct val="0"/>
              </a:spcBef>
              <a:spcAft>
                <a:spcPct val="0"/>
              </a:spcAft>
              <a:defRPr sz="2400">
                <a:solidFill>
                  <a:schemeClr val="tx1"/>
                </a:solidFill>
                <a:latin typeface="Times New Roman" pitchFamily="18" charset="0"/>
                <a:ea typeface="宋体" pitchFamily="2" charset="-122"/>
              </a:defRPr>
            </a:lvl7pPr>
            <a:lvl8pPr marL="3429000" indent="-228600" fontAlgn="base">
              <a:spcBef>
                <a:spcPct val="0"/>
              </a:spcBef>
              <a:spcAft>
                <a:spcPct val="0"/>
              </a:spcAft>
              <a:defRPr sz="2400">
                <a:solidFill>
                  <a:schemeClr val="tx1"/>
                </a:solidFill>
                <a:latin typeface="Times New Roman" pitchFamily="18" charset="0"/>
                <a:ea typeface="宋体" pitchFamily="2" charset="-122"/>
              </a:defRPr>
            </a:lvl8pPr>
            <a:lvl9pPr marL="3886200" indent="-228600" fontAlgn="base">
              <a:spcBef>
                <a:spcPct val="0"/>
              </a:spcBef>
              <a:spcAft>
                <a:spcPct val="0"/>
              </a:spcAft>
              <a:defRPr sz="2400">
                <a:solidFill>
                  <a:schemeClr val="tx1"/>
                </a:solidFill>
                <a:latin typeface="Times New Roman" pitchFamily="18" charset="0"/>
                <a:ea typeface="宋体" pitchFamily="2" charset="-122"/>
              </a:defRPr>
            </a:lvl9pPr>
          </a:lstStyle>
          <a:p>
            <a:pPr>
              <a:defRPr/>
            </a:pPr>
            <a:r>
              <a:rPr lang="zh-CN" altLang="en-US" sz="1400" smtClean="0">
                <a:latin typeface="Palatino Linotype" pitchFamily="18" charset="0"/>
                <a:ea typeface="华文细黑" pitchFamily="2" charset="-122"/>
                <a:cs typeface="新宋体-18030"/>
              </a:rPr>
              <a:t>引入分布式存储（云存储）技术，逐步对现有的盘阵存储方式进行</a:t>
            </a:r>
            <a:r>
              <a:rPr lang="zh-CN" altLang="en-US" sz="1400" smtClean="0">
                <a:latin typeface="Arial" pitchFamily="34" charset="0"/>
                <a:ea typeface="华文细黑" pitchFamily="2" charset="-122"/>
                <a:cs typeface="新宋体-18030"/>
              </a:rPr>
              <a:t>替代</a:t>
            </a:r>
            <a:r>
              <a:rPr lang="zh-CN" altLang="en-US" sz="1400" smtClean="0">
                <a:latin typeface="Palatino Linotype" pitchFamily="18" charset="0"/>
                <a:ea typeface="华文细黑" pitchFamily="2" charset="-122"/>
                <a:cs typeface="新宋体-18030"/>
              </a:rPr>
              <a:t>，实现低成本、高效率的海量数据存储和数据处理</a:t>
            </a:r>
            <a:endParaRPr lang="en-US" altLang="zh-CN" sz="1400" smtClean="0">
              <a:latin typeface="Palatino Linotype" pitchFamily="18" charset="0"/>
              <a:ea typeface="华文细黑" pitchFamily="2" charset="-122"/>
              <a:cs typeface="新宋体-18030"/>
            </a:endParaRPr>
          </a:p>
          <a:p>
            <a:pPr>
              <a:defRPr/>
            </a:pPr>
            <a:endParaRPr lang="zh-CN" altLang="en-US" sz="1400" smtClean="0">
              <a:latin typeface="Palatino Linotype" pitchFamily="18" charset="0"/>
              <a:ea typeface="华文细黑" pitchFamily="2" charset="-122"/>
              <a:cs typeface="新宋体-18030"/>
            </a:endParaRPr>
          </a:p>
        </p:txBody>
      </p:sp>
      <p:sp>
        <p:nvSpPr>
          <p:cNvPr id="11" name="Rectangle 101"/>
          <p:cNvSpPr/>
          <p:nvPr/>
        </p:nvSpPr>
        <p:spPr>
          <a:xfrm>
            <a:off x="693738" y="1947863"/>
            <a:ext cx="2519362" cy="307975"/>
          </a:xfrm>
          <a:prstGeom prst="rect">
            <a:avLst/>
          </a:prstGeom>
        </p:spPr>
        <p:txBody>
          <a:bodyPr wrap="none">
            <a:spAutoFit/>
          </a:bodyPr>
          <a:lstStyle/>
          <a:p>
            <a:pPr fontAlgn="auto">
              <a:spcBef>
                <a:spcPts val="0"/>
              </a:spcBef>
              <a:spcAft>
                <a:spcPts val="0"/>
              </a:spcAft>
              <a:defRPr/>
            </a:pPr>
            <a:r>
              <a:rPr lang="zh-CN" altLang="en-US" sz="1400" dirty="0">
                <a:latin typeface="+mj-ea"/>
                <a:ea typeface="+mj-ea"/>
              </a:rPr>
              <a:t>传统盘阵存储：复杂和高成本</a:t>
            </a:r>
          </a:p>
        </p:txBody>
      </p:sp>
      <p:sp>
        <p:nvSpPr>
          <p:cNvPr id="12" name="Isosceles Triangle 98"/>
          <p:cNvSpPr>
            <a:spLocks noChangeArrowheads="1"/>
          </p:cNvSpPr>
          <p:nvPr/>
        </p:nvSpPr>
        <p:spPr bwMode="auto">
          <a:xfrm rot="5400000">
            <a:off x="4079875" y="2247900"/>
            <a:ext cx="857250" cy="571500"/>
          </a:xfrm>
          <a:prstGeom prst="triangle">
            <a:avLst>
              <a:gd name="adj" fmla="val 50000"/>
            </a:avLst>
          </a:prstGeom>
          <a:gradFill rotWithShape="1">
            <a:gsLst>
              <a:gs pos="0">
                <a:srgbClr val="8488C4"/>
              </a:gs>
              <a:gs pos="53000">
                <a:srgbClr val="D4DEFF"/>
              </a:gs>
              <a:gs pos="83000">
                <a:srgbClr val="D4DEFF"/>
              </a:gs>
              <a:gs pos="100000">
                <a:srgbClr val="96AB94"/>
              </a:gs>
            </a:gsLst>
            <a:lin ang="16200000"/>
          </a:gradFill>
          <a:ln>
            <a:noFill/>
          </a:ln>
          <a:extLst>
            <a:ext uri="{91240B29-F687-4F45-9708-019B960494DF}">
              <a14:hiddenLine xmlns:a14="http://schemas.microsoft.com/office/drawing/2010/main" w="25400" algn="ctr">
                <a:solidFill>
                  <a:srgbClr val="000000"/>
                </a:solidFill>
                <a:miter lim="800000"/>
                <a:headEnd/>
                <a:tailEnd/>
              </a14:hiddenLine>
            </a:ext>
          </a:extLst>
        </p:spPr>
        <p:txBody>
          <a:bodyPr rot="10800000" vert="eaVert" anchor="ctr"/>
          <a:lstStyle/>
          <a:p>
            <a:pPr algn="ctr" fontAlgn="auto">
              <a:spcBef>
                <a:spcPts val="0"/>
              </a:spcBef>
              <a:spcAft>
                <a:spcPts val="0"/>
              </a:spcAft>
              <a:defRPr/>
            </a:pPr>
            <a:endParaRPr lang="zh-CN" altLang="en-US" sz="1800">
              <a:solidFill>
                <a:schemeClr val="lt1"/>
              </a:solidFill>
              <a:latin typeface="+mn-lt"/>
              <a:ea typeface="+mn-ea"/>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0" y="15875"/>
            <a:ext cx="8201025" cy="460375"/>
          </a:xfrm>
        </p:spPr>
        <p:txBody>
          <a:bodyPr/>
          <a:lstStyle/>
          <a:p>
            <a:r>
              <a:rPr lang="zh-CN" altLang="en-US" smtClean="0"/>
              <a:t>存储虚拟化</a:t>
            </a:r>
          </a:p>
        </p:txBody>
      </p:sp>
      <p:grpSp>
        <p:nvGrpSpPr>
          <p:cNvPr id="29699" name="Group 3"/>
          <p:cNvGrpSpPr>
            <a:grpSpLocks/>
          </p:cNvGrpSpPr>
          <p:nvPr/>
        </p:nvGrpSpPr>
        <p:grpSpPr bwMode="auto">
          <a:xfrm>
            <a:off x="7310438" y="188913"/>
            <a:ext cx="1582737" cy="747712"/>
            <a:chOff x="1429" y="2341"/>
            <a:chExt cx="2993" cy="1270"/>
          </a:xfrm>
        </p:grpSpPr>
        <p:sp>
          <p:nvSpPr>
            <p:cNvPr id="30664" name="矩形 33"/>
            <p:cNvSpPr>
              <a:spLocks noChangeArrowheads="1"/>
            </p:cNvSpPr>
            <p:nvPr/>
          </p:nvSpPr>
          <p:spPr bwMode="auto">
            <a:xfrm>
              <a:off x="1429" y="2341"/>
              <a:ext cx="1406" cy="350"/>
            </a:xfrm>
            <a:prstGeom prst="rect">
              <a:avLst/>
            </a:prstGeom>
            <a:solidFill>
              <a:srgbClr val="CCFFCC"/>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0665" name="矩形 46"/>
            <p:cNvSpPr>
              <a:spLocks noChangeArrowheads="1"/>
            </p:cNvSpPr>
            <p:nvPr/>
          </p:nvSpPr>
          <p:spPr bwMode="auto">
            <a:xfrm>
              <a:off x="3787" y="2341"/>
              <a:ext cx="635" cy="1270"/>
            </a:xfrm>
            <a:prstGeom prst="rect">
              <a:avLst/>
            </a:prstGeom>
            <a:solidFill>
              <a:srgbClr val="CC99FF"/>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0666" name="矩形 33"/>
            <p:cNvSpPr>
              <a:spLocks noChangeArrowheads="1"/>
            </p:cNvSpPr>
            <p:nvPr/>
          </p:nvSpPr>
          <p:spPr bwMode="auto">
            <a:xfrm>
              <a:off x="1445" y="2795"/>
              <a:ext cx="1406" cy="350"/>
            </a:xfrm>
            <a:prstGeom prst="rect">
              <a:avLst/>
            </a:prstGeom>
            <a:solidFill>
              <a:srgbClr val="CCFFFF"/>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0667" name="矩形 33"/>
            <p:cNvSpPr>
              <a:spLocks noChangeArrowheads="1"/>
            </p:cNvSpPr>
            <p:nvPr/>
          </p:nvSpPr>
          <p:spPr bwMode="auto">
            <a:xfrm>
              <a:off x="1450" y="3249"/>
              <a:ext cx="1270" cy="350"/>
            </a:xfrm>
            <a:prstGeom prst="rect">
              <a:avLst/>
            </a:prstGeom>
            <a:solidFill>
              <a:srgbClr val="FF0000"/>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0668" name="矩形 33"/>
            <p:cNvSpPr>
              <a:spLocks noChangeArrowheads="1"/>
            </p:cNvSpPr>
            <p:nvPr/>
          </p:nvSpPr>
          <p:spPr bwMode="auto">
            <a:xfrm>
              <a:off x="2789" y="3249"/>
              <a:ext cx="908" cy="350"/>
            </a:xfrm>
            <a:prstGeom prst="rect">
              <a:avLst/>
            </a:prstGeom>
            <a:solidFill>
              <a:srgbClr val="FFFFCC"/>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0669" name="矩形 33"/>
            <p:cNvSpPr>
              <a:spLocks noChangeArrowheads="1"/>
            </p:cNvSpPr>
            <p:nvPr/>
          </p:nvSpPr>
          <p:spPr bwMode="auto">
            <a:xfrm>
              <a:off x="2925" y="2341"/>
              <a:ext cx="771" cy="817"/>
            </a:xfrm>
            <a:prstGeom prst="rect">
              <a:avLst/>
            </a:prstGeom>
            <a:solidFill>
              <a:srgbClr val="99CCFF"/>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grpSp>
      <p:sp>
        <p:nvSpPr>
          <p:cNvPr id="29700" name="Line 10"/>
          <p:cNvSpPr>
            <a:spLocks noChangeShapeType="1"/>
          </p:cNvSpPr>
          <p:nvPr/>
        </p:nvSpPr>
        <p:spPr bwMode="auto">
          <a:xfrm flipH="1">
            <a:off x="2987675" y="1662113"/>
            <a:ext cx="0" cy="5256212"/>
          </a:xfrm>
          <a:prstGeom prst="line">
            <a:avLst/>
          </a:prstGeom>
          <a:noFill/>
          <a:ln w="28575">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29701" name="Line 11"/>
          <p:cNvSpPr>
            <a:spLocks noChangeShapeType="1"/>
          </p:cNvSpPr>
          <p:nvPr/>
        </p:nvSpPr>
        <p:spPr bwMode="auto">
          <a:xfrm flipH="1">
            <a:off x="6156325" y="1863725"/>
            <a:ext cx="0" cy="5256213"/>
          </a:xfrm>
          <a:prstGeom prst="line">
            <a:avLst/>
          </a:prstGeom>
          <a:noFill/>
          <a:ln w="28575">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a:p>
        </p:txBody>
      </p:sp>
      <p:sp>
        <p:nvSpPr>
          <p:cNvPr id="29702" name="Rectangle 12"/>
          <p:cNvSpPr>
            <a:spLocks noChangeArrowheads="1"/>
          </p:cNvSpPr>
          <p:nvPr/>
        </p:nvSpPr>
        <p:spPr bwMode="auto">
          <a:xfrm>
            <a:off x="0" y="4024313"/>
            <a:ext cx="2916238" cy="295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spcBef>
                <a:spcPct val="20000"/>
              </a:spcBef>
              <a:buFont typeface="Verdana" pitchFamily="34" charset="0"/>
              <a:buChar char="▪"/>
            </a:pPr>
            <a:r>
              <a:rPr lang="zh-CN" altLang="en-US" sz="1400">
                <a:latin typeface="Verdana" pitchFamily="34" charset="0"/>
              </a:rPr>
              <a:t>实现方式：一般由操作系统下的逻辑卷管理软件完成（安装客户端软件），不同操作系统的逻辑卷管理软件也不相同</a:t>
            </a:r>
          </a:p>
          <a:p>
            <a:pPr marL="342900" indent="-342900">
              <a:spcBef>
                <a:spcPct val="20000"/>
              </a:spcBef>
              <a:buFont typeface="Verdana" pitchFamily="34" charset="0"/>
              <a:buChar char="▪"/>
            </a:pPr>
            <a:r>
              <a:rPr lang="zh-CN" altLang="en-US" sz="1400">
                <a:latin typeface="Verdana" pitchFamily="34" charset="0"/>
              </a:rPr>
              <a:t>优点是性能损耗小，缺点是占用主机资源，主机数量越多，实施</a:t>
            </a:r>
            <a:r>
              <a:rPr lang="en-US" altLang="zh-CN" sz="1400">
                <a:latin typeface="Verdana" pitchFamily="34" charset="0"/>
              </a:rPr>
              <a:t>/</a:t>
            </a:r>
            <a:r>
              <a:rPr lang="zh-CN" altLang="en-US" sz="1400">
                <a:latin typeface="Verdana" pitchFamily="34" charset="0"/>
              </a:rPr>
              <a:t>管理成本越高</a:t>
            </a:r>
          </a:p>
          <a:p>
            <a:pPr marL="342900" indent="-342900">
              <a:spcBef>
                <a:spcPct val="20000"/>
              </a:spcBef>
              <a:buFont typeface="Verdana" pitchFamily="34" charset="0"/>
              <a:buChar char="▪"/>
            </a:pPr>
            <a:r>
              <a:rPr lang="zh-CN" altLang="en-US" sz="1400">
                <a:latin typeface="Verdana" pitchFamily="34" charset="0"/>
              </a:rPr>
              <a:t>代表产品：赛门铁克</a:t>
            </a:r>
            <a:r>
              <a:rPr lang="en-US" altLang="zh-CN" sz="1400">
                <a:latin typeface="Verdana" pitchFamily="34" charset="0"/>
              </a:rPr>
              <a:t>SF</a:t>
            </a:r>
          </a:p>
          <a:p>
            <a:pPr marL="342900" indent="-342900">
              <a:spcBef>
                <a:spcPct val="20000"/>
              </a:spcBef>
              <a:buFont typeface="Verdana" pitchFamily="34" charset="0"/>
              <a:buChar char="▪"/>
            </a:pPr>
            <a:endParaRPr lang="zh-CN" altLang="en-US" sz="1400">
              <a:latin typeface="Verdana" pitchFamily="34" charset="0"/>
            </a:endParaRPr>
          </a:p>
        </p:txBody>
      </p:sp>
      <p:sp>
        <p:nvSpPr>
          <p:cNvPr id="29703" name="Rectangle 13"/>
          <p:cNvSpPr>
            <a:spLocks noChangeArrowheads="1"/>
          </p:cNvSpPr>
          <p:nvPr/>
        </p:nvSpPr>
        <p:spPr bwMode="auto">
          <a:xfrm>
            <a:off x="215900" y="1216025"/>
            <a:ext cx="8820150" cy="641350"/>
          </a:xfrm>
          <a:prstGeom prst="rect">
            <a:avLst/>
          </a:prstGeom>
          <a:noFill/>
          <a:ln>
            <a:noFill/>
          </a:ln>
          <a:effectLst/>
          <a:extLst>
            <a:ext uri="{909E8E84-426E-40DD-AFC4-6F175D3DCCD1}">
              <a14:hiddenFill xmlns:a14="http://schemas.microsoft.com/office/drawing/2010/main">
                <a:solidFill>
                  <a:srgbClr val="C0C0C0"/>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zh-CN" altLang="en-US" sz="1800">
                <a:solidFill>
                  <a:srgbClr val="00005C"/>
                </a:solidFill>
                <a:latin typeface="Arial" pitchFamily="34" charset="0"/>
                <a:ea typeface="华文细黑" pitchFamily="2" charset="-122"/>
              </a:rPr>
              <a:t>存储虚拟化（</a:t>
            </a:r>
            <a:r>
              <a:rPr lang="en-US" altLang="zh-CN" sz="1800">
                <a:solidFill>
                  <a:srgbClr val="00005C"/>
                </a:solidFill>
                <a:latin typeface="Arial" pitchFamily="34" charset="0"/>
                <a:ea typeface="华文细黑" pitchFamily="2" charset="-122"/>
              </a:rPr>
              <a:t>FC SAN</a:t>
            </a:r>
            <a:r>
              <a:rPr lang="zh-CN" altLang="en-US" sz="1800">
                <a:solidFill>
                  <a:srgbClr val="00005C"/>
                </a:solidFill>
                <a:latin typeface="Arial" pitchFamily="34" charset="0"/>
                <a:ea typeface="华文细黑" pitchFamily="2" charset="-122"/>
              </a:rPr>
              <a:t>）使服务器的存储空间可以跨越多个异构的磁盘阵列，常用于解决阵列间利用率不均衡或在不同磁盘阵列之间做数据镜像保护等问题</a:t>
            </a:r>
          </a:p>
        </p:txBody>
      </p:sp>
      <p:grpSp>
        <p:nvGrpSpPr>
          <p:cNvPr id="29704" name="Group 14"/>
          <p:cNvGrpSpPr>
            <a:grpSpLocks/>
          </p:cNvGrpSpPr>
          <p:nvPr/>
        </p:nvGrpSpPr>
        <p:grpSpPr bwMode="auto">
          <a:xfrm>
            <a:off x="79375" y="2008188"/>
            <a:ext cx="2763838" cy="1728787"/>
            <a:chOff x="261" y="771"/>
            <a:chExt cx="1860" cy="1407"/>
          </a:xfrm>
        </p:grpSpPr>
        <p:grpSp>
          <p:nvGrpSpPr>
            <p:cNvPr id="30292" name="Group 15"/>
            <p:cNvGrpSpPr>
              <a:grpSpLocks/>
            </p:cNvGrpSpPr>
            <p:nvPr/>
          </p:nvGrpSpPr>
          <p:grpSpPr bwMode="auto">
            <a:xfrm>
              <a:off x="329" y="862"/>
              <a:ext cx="1724" cy="1072"/>
              <a:chOff x="306" y="862"/>
              <a:chExt cx="1724" cy="1072"/>
            </a:xfrm>
          </p:grpSpPr>
          <p:grpSp>
            <p:nvGrpSpPr>
              <p:cNvPr id="30295" name="Group 16"/>
              <p:cNvGrpSpPr>
                <a:grpSpLocks/>
              </p:cNvGrpSpPr>
              <p:nvPr/>
            </p:nvGrpSpPr>
            <p:grpSpPr bwMode="auto">
              <a:xfrm>
                <a:off x="578" y="862"/>
                <a:ext cx="1452" cy="998"/>
                <a:chOff x="578" y="862"/>
                <a:chExt cx="1452" cy="1179"/>
              </a:xfrm>
            </p:grpSpPr>
            <p:grpSp>
              <p:nvGrpSpPr>
                <p:cNvPr id="30298" name="Group 17"/>
                <p:cNvGrpSpPr>
                  <a:grpSpLocks noChangeAspect="1"/>
                </p:cNvGrpSpPr>
                <p:nvPr/>
              </p:nvGrpSpPr>
              <p:grpSpPr bwMode="auto">
                <a:xfrm>
                  <a:off x="805" y="862"/>
                  <a:ext cx="203" cy="335"/>
                  <a:chOff x="1514" y="1106"/>
                  <a:chExt cx="367" cy="605"/>
                </a:xfrm>
              </p:grpSpPr>
              <p:sp>
                <p:nvSpPr>
                  <p:cNvPr id="30654" name="AutoShape 18"/>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56" name="Rectangle 20"/>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57" name="Freeform 21"/>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659" name="Rectangle 23"/>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60" name="Rectangle 24"/>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61" name="Rectangle 25"/>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62" name="Rectangle 26"/>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63" name="Rectangle 27"/>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30299" name="Group 28"/>
                <p:cNvGrpSpPr>
                  <a:grpSpLocks noChangeAspect="1"/>
                </p:cNvGrpSpPr>
                <p:nvPr/>
              </p:nvGrpSpPr>
              <p:grpSpPr bwMode="auto">
                <a:xfrm>
                  <a:off x="1077" y="862"/>
                  <a:ext cx="203" cy="335"/>
                  <a:chOff x="1514" y="1106"/>
                  <a:chExt cx="367" cy="605"/>
                </a:xfrm>
              </p:grpSpPr>
              <p:sp>
                <p:nvSpPr>
                  <p:cNvPr id="30644" name="AutoShape 29"/>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46" name="Rectangle 31"/>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47" name="Freeform 32"/>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649" name="Rectangle 34"/>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50" name="Rectangle 35"/>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51" name="Rectangle 36"/>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52" name="Rectangle 37"/>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53" name="Rectangle 38"/>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30300" name="Group 39"/>
                <p:cNvGrpSpPr>
                  <a:grpSpLocks noChangeAspect="1"/>
                </p:cNvGrpSpPr>
                <p:nvPr/>
              </p:nvGrpSpPr>
              <p:grpSpPr bwMode="auto">
                <a:xfrm>
                  <a:off x="1349" y="862"/>
                  <a:ext cx="203" cy="335"/>
                  <a:chOff x="1514" y="1106"/>
                  <a:chExt cx="367" cy="605"/>
                </a:xfrm>
              </p:grpSpPr>
              <p:sp>
                <p:nvSpPr>
                  <p:cNvPr id="30634" name="AutoShape 40"/>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36" name="Rectangle 42"/>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37" name="Freeform 43"/>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639" name="Rectangle 45"/>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40" name="Rectangle 46"/>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41" name="Rectangle 47"/>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42" name="Rectangle 48"/>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43" name="Rectangle 49"/>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30301" name="Group 50"/>
                <p:cNvGrpSpPr>
                  <a:grpSpLocks noChangeAspect="1"/>
                </p:cNvGrpSpPr>
                <p:nvPr/>
              </p:nvGrpSpPr>
              <p:grpSpPr bwMode="auto">
                <a:xfrm>
                  <a:off x="1621" y="862"/>
                  <a:ext cx="203" cy="335"/>
                  <a:chOff x="1514" y="1106"/>
                  <a:chExt cx="367" cy="605"/>
                </a:xfrm>
              </p:grpSpPr>
              <p:sp>
                <p:nvSpPr>
                  <p:cNvPr id="30624" name="AutoShape 51"/>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26" name="Rectangle 53"/>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27" name="Freeform 54"/>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629" name="Rectangle 56"/>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30" name="Rectangle 57"/>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31" name="Rectangle 58"/>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32" name="Rectangle 59"/>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633" name="Rectangle 60"/>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30302" name="Group 61"/>
                <p:cNvGrpSpPr>
                  <a:grpSpLocks noChangeAspect="1"/>
                </p:cNvGrpSpPr>
                <p:nvPr/>
              </p:nvGrpSpPr>
              <p:grpSpPr bwMode="auto">
                <a:xfrm>
                  <a:off x="624" y="1814"/>
                  <a:ext cx="318" cy="227"/>
                  <a:chOff x="240" y="1134"/>
                  <a:chExt cx="1335" cy="798"/>
                </a:xfrm>
              </p:grpSpPr>
              <p:grpSp>
                <p:nvGrpSpPr>
                  <p:cNvPr id="30546" name="Group 62"/>
                  <p:cNvGrpSpPr>
                    <a:grpSpLocks noChangeAspect="1"/>
                  </p:cNvGrpSpPr>
                  <p:nvPr/>
                </p:nvGrpSpPr>
                <p:grpSpPr bwMode="auto">
                  <a:xfrm>
                    <a:off x="240" y="1134"/>
                    <a:ext cx="1335" cy="734"/>
                    <a:chOff x="3007" y="2646"/>
                    <a:chExt cx="1335" cy="734"/>
                  </a:xfrm>
                </p:grpSpPr>
                <p:sp>
                  <p:nvSpPr>
                    <p:cNvPr id="30564" name="Freeform 69"/>
                    <p:cNvSpPr>
                      <a:spLocks noChangeAspect="1"/>
                    </p:cNvSpPr>
                    <p:nvPr/>
                  </p:nvSpPr>
                  <p:spPr bwMode="auto">
                    <a:xfrm>
                      <a:off x="3069" y="2817"/>
                      <a:ext cx="5" cy="403"/>
                    </a:xfrm>
                    <a:custGeom>
                      <a:avLst/>
                      <a:gdLst>
                        <a:gd name="T0" fmla="*/ 0 w 2"/>
                        <a:gd name="T1" fmla="*/ 1456 h 212"/>
                        <a:gd name="T2" fmla="*/ 0 w 2"/>
                        <a:gd name="T3" fmla="*/ 0 h 212"/>
                        <a:gd name="T4" fmla="*/ 33 w 2"/>
                        <a:gd name="T5" fmla="*/ 15 h 212"/>
                        <a:gd name="T6" fmla="*/ 33 w 2"/>
                        <a:gd name="T7" fmla="*/ 1456 h 212"/>
                        <a:gd name="T8" fmla="*/ 0 w 2"/>
                        <a:gd name="T9" fmla="*/ 1456 h 2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12">
                          <a:moveTo>
                            <a:pt x="0" y="212"/>
                          </a:moveTo>
                          <a:lnTo>
                            <a:pt x="0" y="0"/>
                          </a:lnTo>
                          <a:lnTo>
                            <a:pt x="2" y="2"/>
                          </a:lnTo>
                          <a:lnTo>
                            <a:pt x="2" y="212"/>
                          </a:lnTo>
                          <a:lnTo>
                            <a:pt x="0" y="212"/>
                          </a:lnTo>
                          <a:close/>
                        </a:path>
                      </a:pathLst>
                    </a:custGeom>
                    <a:solidFill>
                      <a:srgbClr val="0C3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565" name="Rectangle 70"/>
                    <p:cNvSpPr>
                      <a:spLocks noChangeAspect="1" noChangeArrowheads="1"/>
                    </p:cNvSpPr>
                    <p:nvPr/>
                  </p:nvSpPr>
                  <p:spPr bwMode="auto">
                    <a:xfrm>
                      <a:off x="3972" y="2952"/>
                      <a:ext cx="5" cy="4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566" name="Rectangle 71"/>
                    <p:cNvSpPr>
                      <a:spLocks noChangeAspect="1" noChangeArrowheads="1"/>
                    </p:cNvSpPr>
                    <p:nvPr/>
                  </p:nvSpPr>
                  <p:spPr bwMode="auto">
                    <a:xfrm>
                      <a:off x="3977" y="2952"/>
                      <a:ext cx="9" cy="415"/>
                    </a:xfrm>
                    <a:prstGeom prst="rect">
                      <a:avLst/>
                    </a:prstGeom>
                    <a:solidFill>
                      <a:srgbClr val="0C3C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30572" name="Group 77"/>
                    <p:cNvGrpSpPr>
                      <a:grpSpLocks noChangeAspect="1"/>
                    </p:cNvGrpSpPr>
                    <p:nvPr/>
                  </p:nvGrpSpPr>
                  <p:grpSpPr bwMode="auto">
                    <a:xfrm>
                      <a:off x="3242" y="2890"/>
                      <a:ext cx="670" cy="136"/>
                      <a:chOff x="3242" y="2890"/>
                      <a:chExt cx="670" cy="136"/>
                    </a:xfrm>
                  </p:grpSpPr>
                  <p:grpSp>
                    <p:nvGrpSpPr>
                      <p:cNvPr id="30612" name="Group 78"/>
                      <p:cNvGrpSpPr>
                        <a:grpSpLocks noChangeAspect="1"/>
                      </p:cNvGrpSpPr>
                      <p:nvPr/>
                    </p:nvGrpSpPr>
                    <p:grpSpPr bwMode="auto">
                      <a:xfrm>
                        <a:off x="3242" y="2890"/>
                        <a:ext cx="35" cy="33"/>
                        <a:chOff x="3903" y="3708"/>
                        <a:chExt cx="35" cy="33"/>
                      </a:xfrm>
                    </p:grpSpPr>
                  </p:grpSp>
                  <p:grpSp>
                    <p:nvGrpSpPr>
                      <p:cNvPr id="30613" name="Group 81"/>
                      <p:cNvGrpSpPr>
                        <a:grpSpLocks noChangeAspect="1"/>
                      </p:cNvGrpSpPr>
                      <p:nvPr/>
                    </p:nvGrpSpPr>
                    <p:grpSpPr bwMode="auto">
                      <a:xfrm>
                        <a:off x="3436" y="2922"/>
                        <a:ext cx="35" cy="33"/>
                        <a:chOff x="3903" y="3708"/>
                        <a:chExt cx="35" cy="33"/>
                      </a:xfrm>
                    </p:grpSpPr>
                  </p:grpSp>
                  <p:grpSp>
                    <p:nvGrpSpPr>
                      <p:cNvPr id="30614" name="Group 84"/>
                      <p:cNvGrpSpPr>
                        <a:grpSpLocks noChangeAspect="1"/>
                      </p:cNvGrpSpPr>
                      <p:nvPr/>
                    </p:nvGrpSpPr>
                    <p:grpSpPr bwMode="auto">
                      <a:xfrm>
                        <a:off x="3649" y="2956"/>
                        <a:ext cx="35" cy="33"/>
                        <a:chOff x="3903" y="3708"/>
                        <a:chExt cx="35" cy="33"/>
                      </a:xfrm>
                    </p:grpSpPr>
                  </p:grpSp>
                  <p:grpSp>
                    <p:nvGrpSpPr>
                      <p:cNvPr id="30615" name="Group 87"/>
                      <p:cNvGrpSpPr>
                        <a:grpSpLocks noChangeAspect="1"/>
                      </p:cNvGrpSpPr>
                      <p:nvPr/>
                    </p:nvGrpSpPr>
                    <p:grpSpPr bwMode="auto">
                      <a:xfrm>
                        <a:off x="3877" y="2993"/>
                        <a:ext cx="35" cy="33"/>
                        <a:chOff x="3903" y="3708"/>
                        <a:chExt cx="35" cy="33"/>
                      </a:xfrm>
                    </p:grpSpPr>
                  </p:grpSp>
                </p:grpSp>
                <p:grpSp>
                  <p:nvGrpSpPr>
                    <p:cNvPr id="30573" name="Group 90"/>
                    <p:cNvGrpSpPr>
                      <a:grpSpLocks noChangeAspect="1"/>
                    </p:cNvGrpSpPr>
                    <p:nvPr/>
                  </p:nvGrpSpPr>
                  <p:grpSpPr bwMode="auto">
                    <a:xfrm>
                      <a:off x="3239" y="2979"/>
                      <a:ext cx="670" cy="136"/>
                      <a:chOff x="3242" y="2890"/>
                      <a:chExt cx="670" cy="136"/>
                    </a:xfrm>
                  </p:grpSpPr>
                  <p:grpSp>
                    <p:nvGrpSpPr>
                      <p:cNvPr id="30600" name="Group 91"/>
                      <p:cNvGrpSpPr>
                        <a:grpSpLocks noChangeAspect="1"/>
                      </p:cNvGrpSpPr>
                      <p:nvPr/>
                    </p:nvGrpSpPr>
                    <p:grpSpPr bwMode="auto">
                      <a:xfrm>
                        <a:off x="3242" y="2890"/>
                        <a:ext cx="35" cy="33"/>
                        <a:chOff x="3903" y="3708"/>
                        <a:chExt cx="35" cy="33"/>
                      </a:xfrm>
                    </p:grpSpPr>
                  </p:grpSp>
                  <p:grpSp>
                    <p:nvGrpSpPr>
                      <p:cNvPr id="30601" name="Group 94"/>
                      <p:cNvGrpSpPr>
                        <a:grpSpLocks noChangeAspect="1"/>
                      </p:cNvGrpSpPr>
                      <p:nvPr/>
                    </p:nvGrpSpPr>
                    <p:grpSpPr bwMode="auto">
                      <a:xfrm>
                        <a:off x="3436" y="2922"/>
                        <a:ext cx="35" cy="33"/>
                        <a:chOff x="3903" y="3708"/>
                        <a:chExt cx="35" cy="33"/>
                      </a:xfrm>
                    </p:grpSpPr>
                  </p:grpSp>
                  <p:grpSp>
                    <p:nvGrpSpPr>
                      <p:cNvPr id="30602" name="Group 97"/>
                      <p:cNvGrpSpPr>
                        <a:grpSpLocks noChangeAspect="1"/>
                      </p:cNvGrpSpPr>
                      <p:nvPr/>
                    </p:nvGrpSpPr>
                    <p:grpSpPr bwMode="auto">
                      <a:xfrm>
                        <a:off x="3649" y="2956"/>
                        <a:ext cx="35" cy="33"/>
                        <a:chOff x="3903" y="3708"/>
                        <a:chExt cx="35" cy="33"/>
                      </a:xfrm>
                    </p:grpSpPr>
                  </p:grpSp>
                  <p:grpSp>
                    <p:nvGrpSpPr>
                      <p:cNvPr id="30603" name="Group 100"/>
                      <p:cNvGrpSpPr>
                        <a:grpSpLocks noChangeAspect="1"/>
                      </p:cNvGrpSpPr>
                      <p:nvPr/>
                    </p:nvGrpSpPr>
                    <p:grpSpPr bwMode="auto">
                      <a:xfrm>
                        <a:off x="3877" y="2993"/>
                        <a:ext cx="35" cy="33"/>
                        <a:chOff x="3903" y="3708"/>
                        <a:chExt cx="35" cy="33"/>
                      </a:xfrm>
                    </p:grpSpPr>
                  </p:grpSp>
                </p:grpSp>
                <p:grpSp>
                  <p:nvGrpSpPr>
                    <p:cNvPr id="30574" name="Group 103"/>
                    <p:cNvGrpSpPr>
                      <a:grpSpLocks noChangeAspect="1"/>
                    </p:cNvGrpSpPr>
                    <p:nvPr/>
                  </p:nvGrpSpPr>
                  <p:grpSpPr bwMode="auto">
                    <a:xfrm>
                      <a:off x="3235" y="3075"/>
                      <a:ext cx="670" cy="136"/>
                      <a:chOff x="3242" y="2890"/>
                      <a:chExt cx="670" cy="136"/>
                    </a:xfrm>
                  </p:grpSpPr>
                  <p:grpSp>
                    <p:nvGrpSpPr>
                      <p:cNvPr id="30588" name="Group 104"/>
                      <p:cNvGrpSpPr>
                        <a:grpSpLocks noChangeAspect="1"/>
                      </p:cNvGrpSpPr>
                      <p:nvPr/>
                    </p:nvGrpSpPr>
                    <p:grpSpPr bwMode="auto">
                      <a:xfrm>
                        <a:off x="3242" y="2890"/>
                        <a:ext cx="35" cy="33"/>
                        <a:chOff x="3903" y="3708"/>
                        <a:chExt cx="35" cy="33"/>
                      </a:xfrm>
                    </p:grpSpPr>
                  </p:grpSp>
                  <p:grpSp>
                    <p:nvGrpSpPr>
                      <p:cNvPr id="30589" name="Group 107"/>
                      <p:cNvGrpSpPr>
                        <a:grpSpLocks noChangeAspect="1"/>
                      </p:cNvGrpSpPr>
                      <p:nvPr/>
                    </p:nvGrpSpPr>
                    <p:grpSpPr bwMode="auto">
                      <a:xfrm>
                        <a:off x="3436" y="2922"/>
                        <a:ext cx="35" cy="33"/>
                        <a:chOff x="3903" y="3708"/>
                        <a:chExt cx="35" cy="33"/>
                      </a:xfrm>
                    </p:grpSpPr>
                  </p:grpSp>
                  <p:grpSp>
                    <p:nvGrpSpPr>
                      <p:cNvPr id="30590" name="Group 110"/>
                      <p:cNvGrpSpPr>
                        <a:grpSpLocks noChangeAspect="1"/>
                      </p:cNvGrpSpPr>
                      <p:nvPr/>
                    </p:nvGrpSpPr>
                    <p:grpSpPr bwMode="auto">
                      <a:xfrm>
                        <a:off x="3649" y="2956"/>
                        <a:ext cx="35" cy="33"/>
                        <a:chOff x="3903" y="3708"/>
                        <a:chExt cx="35" cy="33"/>
                      </a:xfrm>
                    </p:grpSpPr>
                  </p:grpSp>
                  <p:grpSp>
                    <p:nvGrpSpPr>
                      <p:cNvPr id="30591" name="Group 113"/>
                      <p:cNvGrpSpPr>
                        <a:grpSpLocks noChangeAspect="1"/>
                      </p:cNvGrpSpPr>
                      <p:nvPr/>
                    </p:nvGrpSpPr>
                    <p:grpSpPr bwMode="auto">
                      <a:xfrm>
                        <a:off x="3877" y="2993"/>
                        <a:ext cx="35" cy="33"/>
                        <a:chOff x="3903" y="3708"/>
                        <a:chExt cx="35" cy="33"/>
                      </a:xfrm>
                    </p:grpSpPr>
                  </p:grpSp>
                </p:grpSp>
                <p:grpSp>
                  <p:nvGrpSpPr>
                    <p:cNvPr id="30575" name="Group 116"/>
                    <p:cNvGrpSpPr>
                      <a:grpSpLocks noChangeAspect="1"/>
                    </p:cNvGrpSpPr>
                    <p:nvPr/>
                  </p:nvGrpSpPr>
                  <p:grpSpPr bwMode="auto">
                    <a:xfrm>
                      <a:off x="3231" y="3179"/>
                      <a:ext cx="670" cy="136"/>
                      <a:chOff x="3242" y="2890"/>
                      <a:chExt cx="670" cy="136"/>
                    </a:xfrm>
                  </p:grpSpPr>
                  <p:grpSp>
                    <p:nvGrpSpPr>
                      <p:cNvPr id="30576" name="Group 117"/>
                      <p:cNvGrpSpPr>
                        <a:grpSpLocks noChangeAspect="1"/>
                      </p:cNvGrpSpPr>
                      <p:nvPr/>
                    </p:nvGrpSpPr>
                    <p:grpSpPr bwMode="auto">
                      <a:xfrm>
                        <a:off x="3242" y="2890"/>
                        <a:ext cx="35" cy="33"/>
                        <a:chOff x="3903" y="3708"/>
                        <a:chExt cx="35" cy="33"/>
                      </a:xfrm>
                    </p:grpSpPr>
                  </p:grpSp>
                  <p:grpSp>
                    <p:nvGrpSpPr>
                      <p:cNvPr id="30577" name="Group 120"/>
                      <p:cNvGrpSpPr>
                        <a:grpSpLocks noChangeAspect="1"/>
                      </p:cNvGrpSpPr>
                      <p:nvPr/>
                    </p:nvGrpSpPr>
                    <p:grpSpPr bwMode="auto">
                      <a:xfrm>
                        <a:off x="3436" y="2922"/>
                        <a:ext cx="35" cy="33"/>
                        <a:chOff x="3903" y="3708"/>
                        <a:chExt cx="35" cy="33"/>
                      </a:xfrm>
                    </p:grpSpPr>
                  </p:grpSp>
                  <p:grpSp>
                    <p:nvGrpSpPr>
                      <p:cNvPr id="30578" name="Group 123"/>
                      <p:cNvGrpSpPr>
                        <a:grpSpLocks noChangeAspect="1"/>
                      </p:cNvGrpSpPr>
                      <p:nvPr/>
                    </p:nvGrpSpPr>
                    <p:grpSpPr bwMode="auto">
                      <a:xfrm>
                        <a:off x="3649" y="2956"/>
                        <a:ext cx="35" cy="33"/>
                        <a:chOff x="3903" y="3708"/>
                        <a:chExt cx="35" cy="33"/>
                      </a:xfrm>
                    </p:grpSpPr>
                  </p:grpSp>
                  <p:grpSp>
                    <p:nvGrpSpPr>
                      <p:cNvPr id="30579" name="Group 126"/>
                      <p:cNvGrpSpPr>
                        <a:grpSpLocks noChangeAspect="1"/>
                      </p:cNvGrpSpPr>
                      <p:nvPr/>
                    </p:nvGrpSpPr>
                    <p:grpSpPr bwMode="auto">
                      <a:xfrm>
                        <a:off x="3877" y="2993"/>
                        <a:ext cx="35" cy="33"/>
                        <a:chOff x="3903" y="3708"/>
                        <a:chExt cx="35" cy="33"/>
                      </a:xfrm>
                    </p:grpSpPr>
                  </p:grpSp>
                </p:grpSp>
              </p:grpSp>
              <p:grpSp>
                <p:nvGrpSpPr>
                  <p:cNvPr id="30547" name="Group 129"/>
                  <p:cNvGrpSpPr>
                    <a:grpSpLocks noChangeAspect="1"/>
                  </p:cNvGrpSpPr>
                  <p:nvPr/>
                </p:nvGrpSpPr>
                <p:grpSpPr bwMode="auto">
                  <a:xfrm>
                    <a:off x="1110" y="1602"/>
                    <a:ext cx="269" cy="330"/>
                    <a:chOff x="2362" y="3405"/>
                    <a:chExt cx="352" cy="432"/>
                  </a:xfrm>
                </p:grpSpPr>
                <p:sp>
                  <p:nvSpPr>
                    <p:cNvPr id="30556" name="Oval 138"/>
                    <p:cNvSpPr>
                      <a:spLocks noChangeAspect="1" noChangeArrowheads="1"/>
                    </p:cNvSpPr>
                    <p:nvPr/>
                  </p:nvSpPr>
                  <p:spPr bwMode="auto">
                    <a:xfrm>
                      <a:off x="2364" y="3405"/>
                      <a:ext cx="350" cy="117"/>
                    </a:xfrm>
                    <a:prstGeom prst="ellipse">
                      <a:avLst/>
                    </a:prstGeom>
                    <a:solidFill>
                      <a:srgbClr val="8BA6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grpSp>
              <p:nvGrpSpPr>
                <p:cNvPr id="30303" name="Group 140"/>
                <p:cNvGrpSpPr>
                  <a:grpSpLocks noChangeAspect="1"/>
                </p:cNvGrpSpPr>
                <p:nvPr/>
              </p:nvGrpSpPr>
              <p:grpSpPr bwMode="auto">
                <a:xfrm>
                  <a:off x="987" y="1814"/>
                  <a:ext cx="318" cy="227"/>
                  <a:chOff x="240" y="1134"/>
                  <a:chExt cx="1335" cy="798"/>
                </a:xfrm>
              </p:grpSpPr>
              <p:grpSp>
                <p:nvGrpSpPr>
                  <p:cNvPr id="30468" name="Group 141"/>
                  <p:cNvGrpSpPr>
                    <a:grpSpLocks noChangeAspect="1"/>
                  </p:cNvGrpSpPr>
                  <p:nvPr/>
                </p:nvGrpSpPr>
                <p:grpSpPr bwMode="auto">
                  <a:xfrm>
                    <a:off x="240" y="1134"/>
                    <a:ext cx="1335" cy="734"/>
                    <a:chOff x="3007" y="2646"/>
                    <a:chExt cx="1335" cy="734"/>
                  </a:xfrm>
                </p:grpSpPr>
                <p:sp>
                  <p:nvSpPr>
                    <p:cNvPr id="30486" name="Freeform 148"/>
                    <p:cNvSpPr>
                      <a:spLocks noChangeAspect="1"/>
                    </p:cNvSpPr>
                    <p:nvPr/>
                  </p:nvSpPr>
                  <p:spPr bwMode="auto">
                    <a:xfrm>
                      <a:off x="3069" y="2817"/>
                      <a:ext cx="5" cy="403"/>
                    </a:xfrm>
                    <a:custGeom>
                      <a:avLst/>
                      <a:gdLst>
                        <a:gd name="T0" fmla="*/ 0 w 2"/>
                        <a:gd name="T1" fmla="*/ 1456 h 212"/>
                        <a:gd name="T2" fmla="*/ 0 w 2"/>
                        <a:gd name="T3" fmla="*/ 0 h 212"/>
                        <a:gd name="T4" fmla="*/ 33 w 2"/>
                        <a:gd name="T5" fmla="*/ 15 h 212"/>
                        <a:gd name="T6" fmla="*/ 33 w 2"/>
                        <a:gd name="T7" fmla="*/ 1456 h 212"/>
                        <a:gd name="T8" fmla="*/ 0 w 2"/>
                        <a:gd name="T9" fmla="*/ 1456 h 2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12">
                          <a:moveTo>
                            <a:pt x="0" y="212"/>
                          </a:moveTo>
                          <a:lnTo>
                            <a:pt x="0" y="0"/>
                          </a:lnTo>
                          <a:lnTo>
                            <a:pt x="2" y="2"/>
                          </a:lnTo>
                          <a:lnTo>
                            <a:pt x="2" y="212"/>
                          </a:lnTo>
                          <a:lnTo>
                            <a:pt x="0" y="212"/>
                          </a:lnTo>
                          <a:close/>
                        </a:path>
                      </a:pathLst>
                    </a:custGeom>
                    <a:solidFill>
                      <a:srgbClr val="0C3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487" name="Rectangle 149"/>
                    <p:cNvSpPr>
                      <a:spLocks noChangeAspect="1" noChangeArrowheads="1"/>
                    </p:cNvSpPr>
                    <p:nvPr/>
                  </p:nvSpPr>
                  <p:spPr bwMode="auto">
                    <a:xfrm>
                      <a:off x="3972" y="2952"/>
                      <a:ext cx="5" cy="4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488" name="Rectangle 150"/>
                    <p:cNvSpPr>
                      <a:spLocks noChangeAspect="1" noChangeArrowheads="1"/>
                    </p:cNvSpPr>
                    <p:nvPr/>
                  </p:nvSpPr>
                  <p:spPr bwMode="auto">
                    <a:xfrm>
                      <a:off x="3977" y="2952"/>
                      <a:ext cx="9" cy="415"/>
                    </a:xfrm>
                    <a:prstGeom prst="rect">
                      <a:avLst/>
                    </a:prstGeom>
                    <a:solidFill>
                      <a:srgbClr val="0C3C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30494" name="Group 156"/>
                    <p:cNvGrpSpPr>
                      <a:grpSpLocks noChangeAspect="1"/>
                    </p:cNvGrpSpPr>
                    <p:nvPr/>
                  </p:nvGrpSpPr>
                  <p:grpSpPr bwMode="auto">
                    <a:xfrm>
                      <a:off x="3242" y="2890"/>
                      <a:ext cx="670" cy="136"/>
                      <a:chOff x="3242" y="2890"/>
                      <a:chExt cx="670" cy="136"/>
                    </a:xfrm>
                  </p:grpSpPr>
                  <p:grpSp>
                    <p:nvGrpSpPr>
                      <p:cNvPr id="30534" name="Group 157"/>
                      <p:cNvGrpSpPr>
                        <a:grpSpLocks noChangeAspect="1"/>
                      </p:cNvGrpSpPr>
                      <p:nvPr/>
                    </p:nvGrpSpPr>
                    <p:grpSpPr bwMode="auto">
                      <a:xfrm>
                        <a:off x="3242" y="2890"/>
                        <a:ext cx="35" cy="33"/>
                        <a:chOff x="3903" y="3708"/>
                        <a:chExt cx="35" cy="33"/>
                      </a:xfrm>
                    </p:grpSpPr>
                  </p:grpSp>
                  <p:grpSp>
                    <p:nvGrpSpPr>
                      <p:cNvPr id="30535" name="Group 160"/>
                      <p:cNvGrpSpPr>
                        <a:grpSpLocks noChangeAspect="1"/>
                      </p:cNvGrpSpPr>
                      <p:nvPr/>
                    </p:nvGrpSpPr>
                    <p:grpSpPr bwMode="auto">
                      <a:xfrm>
                        <a:off x="3436" y="2922"/>
                        <a:ext cx="35" cy="33"/>
                        <a:chOff x="3903" y="3708"/>
                        <a:chExt cx="35" cy="33"/>
                      </a:xfrm>
                    </p:grpSpPr>
                  </p:grpSp>
                  <p:grpSp>
                    <p:nvGrpSpPr>
                      <p:cNvPr id="30536" name="Group 163"/>
                      <p:cNvGrpSpPr>
                        <a:grpSpLocks noChangeAspect="1"/>
                      </p:cNvGrpSpPr>
                      <p:nvPr/>
                    </p:nvGrpSpPr>
                    <p:grpSpPr bwMode="auto">
                      <a:xfrm>
                        <a:off x="3649" y="2956"/>
                        <a:ext cx="35" cy="33"/>
                        <a:chOff x="3903" y="3708"/>
                        <a:chExt cx="35" cy="33"/>
                      </a:xfrm>
                    </p:grpSpPr>
                  </p:grpSp>
                  <p:grpSp>
                    <p:nvGrpSpPr>
                      <p:cNvPr id="30537" name="Group 166"/>
                      <p:cNvGrpSpPr>
                        <a:grpSpLocks noChangeAspect="1"/>
                      </p:cNvGrpSpPr>
                      <p:nvPr/>
                    </p:nvGrpSpPr>
                    <p:grpSpPr bwMode="auto">
                      <a:xfrm>
                        <a:off x="3877" y="2993"/>
                        <a:ext cx="35" cy="33"/>
                        <a:chOff x="3903" y="3708"/>
                        <a:chExt cx="35" cy="33"/>
                      </a:xfrm>
                    </p:grpSpPr>
                  </p:grpSp>
                </p:grpSp>
                <p:grpSp>
                  <p:nvGrpSpPr>
                    <p:cNvPr id="30495" name="Group 169"/>
                    <p:cNvGrpSpPr>
                      <a:grpSpLocks noChangeAspect="1"/>
                    </p:cNvGrpSpPr>
                    <p:nvPr/>
                  </p:nvGrpSpPr>
                  <p:grpSpPr bwMode="auto">
                    <a:xfrm>
                      <a:off x="3239" y="2979"/>
                      <a:ext cx="670" cy="136"/>
                      <a:chOff x="3242" y="2890"/>
                      <a:chExt cx="670" cy="136"/>
                    </a:xfrm>
                  </p:grpSpPr>
                  <p:grpSp>
                    <p:nvGrpSpPr>
                      <p:cNvPr id="30522" name="Group 170"/>
                      <p:cNvGrpSpPr>
                        <a:grpSpLocks noChangeAspect="1"/>
                      </p:cNvGrpSpPr>
                      <p:nvPr/>
                    </p:nvGrpSpPr>
                    <p:grpSpPr bwMode="auto">
                      <a:xfrm>
                        <a:off x="3242" y="2890"/>
                        <a:ext cx="35" cy="33"/>
                        <a:chOff x="3903" y="3708"/>
                        <a:chExt cx="35" cy="33"/>
                      </a:xfrm>
                    </p:grpSpPr>
                  </p:grpSp>
                  <p:grpSp>
                    <p:nvGrpSpPr>
                      <p:cNvPr id="30523" name="Group 173"/>
                      <p:cNvGrpSpPr>
                        <a:grpSpLocks noChangeAspect="1"/>
                      </p:cNvGrpSpPr>
                      <p:nvPr/>
                    </p:nvGrpSpPr>
                    <p:grpSpPr bwMode="auto">
                      <a:xfrm>
                        <a:off x="3436" y="2922"/>
                        <a:ext cx="35" cy="33"/>
                        <a:chOff x="3903" y="3708"/>
                        <a:chExt cx="35" cy="33"/>
                      </a:xfrm>
                    </p:grpSpPr>
                  </p:grpSp>
                  <p:grpSp>
                    <p:nvGrpSpPr>
                      <p:cNvPr id="30524" name="Group 176"/>
                      <p:cNvGrpSpPr>
                        <a:grpSpLocks noChangeAspect="1"/>
                      </p:cNvGrpSpPr>
                      <p:nvPr/>
                    </p:nvGrpSpPr>
                    <p:grpSpPr bwMode="auto">
                      <a:xfrm>
                        <a:off x="3649" y="2956"/>
                        <a:ext cx="35" cy="33"/>
                        <a:chOff x="3903" y="3708"/>
                        <a:chExt cx="35" cy="33"/>
                      </a:xfrm>
                    </p:grpSpPr>
                  </p:grpSp>
                  <p:grpSp>
                    <p:nvGrpSpPr>
                      <p:cNvPr id="30525" name="Group 179"/>
                      <p:cNvGrpSpPr>
                        <a:grpSpLocks noChangeAspect="1"/>
                      </p:cNvGrpSpPr>
                      <p:nvPr/>
                    </p:nvGrpSpPr>
                    <p:grpSpPr bwMode="auto">
                      <a:xfrm>
                        <a:off x="3877" y="2993"/>
                        <a:ext cx="35" cy="33"/>
                        <a:chOff x="3903" y="3708"/>
                        <a:chExt cx="35" cy="33"/>
                      </a:xfrm>
                    </p:grpSpPr>
                  </p:grpSp>
                </p:grpSp>
                <p:grpSp>
                  <p:nvGrpSpPr>
                    <p:cNvPr id="30496" name="Group 182"/>
                    <p:cNvGrpSpPr>
                      <a:grpSpLocks noChangeAspect="1"/>
                    </p:cNvGrpSpPr>
                    <p:nvPr/>
                  </p:nvGrpSpPr>
                  <p:grpSpPr bwMode="auto">
                    <a:xfrm>
                      <a:off x="3235" y="3075"/>
                      <a:ext cx="670" cy="136"/>
                      <a:chOff x="3242" y="2890"/>
                      <a:chExt cx="670" cy="136"/>
                    </a:xfrm>
                  </p:grpSpPr>
                  <p:grpSp>
                    <p:nvGrpSpPr>
                      <p:cNvPr id="30510" name="Group 183"/>
                      <p:cNvGrpSpPr>
                        <a:grpSpLocks noChangeAspect="1"/>
                      </p:cNvGrpSpPr>
                      <p:nvPr/>
                    </p:nvGrpSpPr>
                    <p:grpSpPr bwMode="auto">
                      <a:xfrm>
                        <a:off x="3242" y="2890"/>
                        <a:ext cx="35" cy="33"/>
                        <a:chOff x="3903" y="3708"/>
                        <a:chExt cx="35" cy="33"/>
                      </a:xfrm>
                    </p:grpSpPr>
                  </p:grpSp>
                  <p:grpSp>
                    <p:nvGrpSpPr>
                      <p:cNvPr id="30511" name="Group 186"/>
                      <p:cNvGrpSpPr>
                        <a:grpSpLocks noChangeAspect="1"/>
                      </p:cNvGrpSpPr>
                      <p:nvPr/>
                    </p:nvGrpSpPr>
                    <p:grpSpPr bwMode="auto">
                      <a:xfrm>
                        <a:off x="3436" y="2922"/>
                        <a:ext cx="35" cy="33"/>
                        <a:chOff x="3903" y="3708"/>
                        <a:chExt cx="35" cy="33"/>
                      </a:xfrm>
                    </p:grpSpPr>
                  </p:grpSp>
                  <p:grpSp>
                    <p:nvGrpSpPr>
                      <p:cNvPr id="30512" name="Group 189"/>
                      <p:cNvGrpSpPr>
                        <a:grpSpLocks noChangeAspect="1"/>
                      </p:cNvGrpSpPr>
                      <p:nvPr/>
                    </p:nvGrpSpPr>
                    <p:grpSpPr bwMode="auto">
                      <a:xfrm>
                        <a:off x="3649" y="2956"/>
                        <a:ext cx="35" cy="33"/>
                        <a:chOff x="3903" y="3708"/>
                        <a:chExt cx="35" cy="33"/>
                      </a:xfrm>
                    </p:grpSpPr>
                  </p:grpSp>
                  <p:grpSp>
                    <p:nvGrpSpPr>
                      <p:cNvPr id="30513" name="Group 192"/>
                      <p:cNvGrpSpPr>
                        <a:grpSpLocks noChangeAspect="1"/>
                      </p:cNvGrpSpPr>
                      <p:nvPr/>
                    </p:nvGrpSpPr>
                    <p:grpSpPr bwMode="auto">
                      <a:xfrm>
                        <a:off x="3877" y="2993"/>
                        <a:ext cx="35" cy="33"/>
                        <a:chOff x="3903" y="3708"/>
                        <a:chExt cx="35" cy="33"/>
                      </a:xfrm>
                    </p:grpSpPr>
                  </p:grpSp>
                </p:grpSp>
                <p:grpSp>
                  <p:nvGrpSpPr>
                    <p:cNvPr id="30497" name="Group 195"/>
                    <p:cNvGrpSpPr>
                      <a:grpSpLocks noChangeAspect="1"/>
                    </p:cNvGrpSpPr>
                    <p:nvPr/>
                  </p:nvGrpSpPr>
                  <p:grpSpPr bwMode="auto">
                    <a:xfrm>
                      <a:off x="3231" y="3179"/>
                      <a:ext cx="670" cy="136"/>
                      <a:chOff x="3242" y="2890"/>
                      <a:chExt cx="670" cy="136"/>
                    </a:xfrm>
                  </p:grpSpPr>
                  <p:grpSp>
                    <p:nvGrpSpPr>
                      <p:cNvPr id="30498" name="Group 196"/>
                      <p:cNvGrpSpPr>
                        <a:grpSpLocks noChangeAspect="1"/>
                      </p:cNvGrpSpPr>
                      <p:nvPr/>
                    </p:nvGrpSpPr>
                    <p:grpSpPr bwMode="auto">
                      <a:xfrm>
                        <a:off x="3242" y="2890"/>
                        <a:ext cx="35" cy="33"/>
                        <a:chOff x="3903" y="3708"/>
                        <a:chExt cx="35" cy="33"/>
                      </a:xfrm>
                    </p:grpSpPr>
                  </p:grpSp>
                  <p:grpSp>
                    <p:nvGrpSpPr>
                      <p:cNvPr id="30499" name="Group 199"/>
                      <p:cNvGrpSpPr>
                        <a:grpSpLocks noChangeAspect="1"/>
                      </p:cNvGrpSpPr>
                      <p:nvPr/>
                    </p:nvGrpSpPr>
                    <p:grpSpPr bwMode="auto">
                      <a:xfrm>
                        <a:off x="3436" y="2922"/>
                        <a:ext cx="35" cy="33"/>
                        <a:chOff x="3903" y="3708"/>
                        <a:chExt cx="35" cy="33"/>
                      </a:xfrm>
                    </p:grpSpPr>
                  </p:grpSp>
                  <p:grpSp>
                    <p:nvGrpSpPr>
                      <p:cNvPr id="30500" name="Group 202"/>
                      <p:cNvGrpSpPr>
                        <a:grpSpLocks noChangeAspect="1"/>
                      </p:cNvGrpSpPr>
                      <p:nvPr/>
                    </p:nvGrpSpPr>
                    <p:grpSpPr bwMode="auto">
                      <a:xfrm>
                        <a:off x="3649" y="2956"/>
                        <a:ext cx="35" cy="33"/>
                        <a:chOff x="3903" y="3708"/>
                        <a:chExt cx="35" cy="33"/>
                      </a:xfrm>
                    </p:grpSpPr>
                  </p:grpSp>
                  <p:grpSp>
                    <p:nvGrpSpPr>
                      <p:cNvPr id="30501" name="Group 205"/>
                      <p:cNvGrpSpPr>
                        <a:grpSpLocks noChangeAspect="1"/>
                      </p:cNvGrpSpPr>
                      <p:nvPr/>
                    </p:nvGrpSpPr>
                    <p:grpSpPr bwMode="auto">
                      <a:xfrm>
                        <a:off x="3877" y="2993"/>
                        <a:ext cx="35" cy="33"/>
                        <a:chOff x="3903" y="3708"/>
                        <a:chExt cx="35" cy="33"/>
                      </a:xfrm>
                    </p:grpSpPr>
                  </p:grpSp>
                </p:grpSp>
              </p:grpSp>
              <p:grpSp>
                <p:nvGrpSpPr>
                  <p:cNvPr id="30469" name="Group 208"/>
                  <p:cNvGrpSpPr>
                    <a:grpSpLocks noChangeAspect="1"/>
                  </p:cNvGrpSpPr>
                  <p:nvPr/>
                </p:nvGrpSpPr>
                <p:grpSpPr bwMode="auto">
                  <a:xfrm>
                    <a:off x="1110" y="1602"/>
                    <a:ext cx="269" cy="330"/>
                    <a:chOff x="2362" y="3405"/>
                    <a:chExt cx="352" cy="432"/>
                  </a:xfrm>
                </p:grpSpPr>
                <p:sp>
                  <p:nvSpPr>
                    <p:cNvPr id="30478" name="Oval 217"/>
                    <p:cNvSpPr>
                      <a:spLocks noChangeAspect="1" noChangeArrowheads="1"/>
                    </p:cNvSpPr>
                    <p:nvPr/>
                  </p:nvSpPr>
                  <p:spPr bwMode="auto">
                    <a:xfrm>
                      <a:off x="2364" y="3405"/>
                      <a:ext cx="350" cy="117"/>
                    </a:xfrm>
                    <a:prstGeom prst="ellipse">
                      <a:avLst/>
                    </a:prstGeom>
                    <a:solidFill>
                      <a:srgbClr val="8BA6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grpSp>
              <p:nvGrpSpPr>
                <p:cNvPr id="30304" name="Group 219"/>
                <p:cNvGrpSpPr>
                  <a:grpSpLocks noChangeAspect="1"/>
                </p:cNvGrpSpPr>
                <p:nvPr/>
              </p:nvGrpSpPr>
              <p:grpSpPr bwMode="auto">
                <a:xfrm>
                  <a:off x="1349" y="1814"/>
                  <a:ext cx="318" cy="227"/>
                  <a:chOff x="240" y="1134"/>
                  <a:chExt cx="1335" cy="798"/>
                </a:xfrm>
              </p:grpSpPr>
              <p:grpSp>
                <p:nvGrpSpPr>
                  <p:cNvPr id="30390" name="Group 220"/>
                  <p:cNvGrpSpPr>
                    <a:grpSpLocks noChangeAspect="1"/>
                  </p:cNvGrpSpPr>
                  <p:nvPr/>
                </p:nvGrpSpPr>
                <p:grpSpPr bwMode="auto">
                  <a:xfrm>
                    <a:off x="240" y="1134"/>
                    <a:ext cx="1335" cy="734"/>
                    <a:chOff x="3007" y="2646"/>
                    <a:chExt cx="1335" cy="734"/>
                  </a:xfrm>
                </p:grpSpPr>
                <p:sp>
                  <p:nvSpPr>
                    <p:cNvPr id="30408" name="Freeform 227"/>
                    <p:cNvSpPr>
                      <a:spLocks noChangeAspect="1"/>
                    </p:cNvSpPr>
                    <p:nvPr/>
                  </p:nvSpPr>
                  <p:spPr bwMode="auto">
                    <a:xfrm>
                      <a:off x="3069" y="2817"/>
                      <a:ext cx="5" cy="403"/>
                    </a:xfrm>
                    <a:custGeom>
                      <a:avLst/>
                      <a:gdLst>
                        <a:gd name="T0" fmla="*/ 0 w 2"/>
                        <a:gd name="T1" fmla="*/ 1456 h 212"/>
                        <a:gd name="T2" fmla="*/ 0 w 2"/>
                        <a:gd name="T3" fmla="*/ 0 h 212"/>
                        <a:gd name="T4" fmla="*/ 33 w 2"/>
                        <a:gd name="T5" fmla="*/ 15 h 212"/>
                        <a:gd name="T6" fmla="*/ 33 w 2"/>
                        <a:gd name="T7" fmla="*/ 1456 h 212"/>
                        <a:gd name="T8" fmla="*/ 0 w 2"/>
                        <a:gd name="T9" fmla="*/ 1456 h 2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12">
                          <a:moveTo>
                            <a:pt x="0" y="212"/>
                          </a:moveTo>
                          <a:lnTo>
                            <a:pt x="0" y="0"/>
                          </a:lnTo>
                          <a:lnTo>
                            <a:pt x="2" y="2"/>
                          </a:lnTo>
                          <a:lnTo>
                            <a:pt x="2" y="212"/>
                          </a:lnTo>
                          <a:lnTo>
                            <a:pt x="0" y="212"/>
                          </a:lnTo>
                          <a:close/>
                        </a:path>
                      </a:pathLst>
                    </a:custGeom>
                    <a:solidFill>
                      <a:srgbClr val="0C3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409" name="Rectangle 228"/>
                    <p:cNvSpPr>
                      <a:spLocks noChangeAspect="1" noChangeArrowheads="1"/>
                    </p:cNvSpPr>
                    <p:nvPr/>
                  </p:nvSpPr>
                  <p:spPr bwMode="auto">
                    <a:xfrm>
                      <a:off x="3972" y="2952"/>
                      <a:ext cx="5" cy="4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410" name="Rectangle 229"/>
                    <p:cNvSpPr>
                      <a:spLocks noChangeAspect="1" noChangeArrowheads="1"/>
                    </p:cNvSpPr>
                    <p:nvPr/>
                  </p:nvSpPr>
                  <p:spPr bwMode="auto">
                    <a:xfrm>
                      <a:off x="3977" y="2952"/>
                      <a:ext cx="9" cy="415"/>
                    </a:xfrm>
                    <a:prstGeom prst="rect">
                      <a:avLst/>
                    </a:prstGeom>
                    <a:solidFill>
                      <a:srgbClr val="0C3C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30416" name="Group 235"/>
                    <p:cNvGrpSpPr>
                      <a:grpSpLocks noChangeAspect="1"/>
                    </p:cNvGrpSpPr>
                    <p:nvPr/>
                  </p:nvGrpSpPr>
                  <p:grpSpPr bwMode="auto">
                    <a:xfrm>
                      <a:off x="3242" y="2890"/>
                      <a:ext cx="670" cy="136"/>
                      <a:chOff x="3242" y="2890"/>
                      <a:chExt cx="670" cy="136"/>
                    </a:xfrm>
                  </p:grpSpPr>
                  <p:grpSp>
                    <p:nvGrpSpPr>
                      <p:cNvPr id="30456" name="Group 236"/>
                      <p:cNvGrpSpPr>
                        <a:grpSpLocks noChangeAspect="1"/>
                      </p:cNvGrpSpPr>
                      <p:nvPr/>
                    </p:nvGrpSpPr>
                    <p:grpSpPr bwMode="auto">
                      <a:xfrm>
                        <a:off x="3242" y="2890"/>
                        <a:ext cx="35" cy="33"/>
                        <a:chOff x="3903" y="3708"/>
                        <a:chExt cx="35" cy="33"/>
                      </a:xfrm>
                    </p:grpSpPr>
                  </p:grpSp>
                  <p:grpSp>
                    <p:nvGrpSpPr>
                      <p:cNvPr id="30457" name="Group 239"/>
                      <p:cNvGrpSpPr>
                        <a:grpSpLocks noChangeAspect="1"/>
                      </p:cNvGrpSpPr>
                      <p:nvPr/>
                    </p:nvGrpSpPr>
                    <p:grpSpPr bwMode="auto">
                      <a:xfrm>
                        <a:off x="3436" y="2922"/>
                        <a:ext cx="35" cy="33"/>
                        <a:chOff x="3903" y="3708"/>
                        <a:chExt cx="35" cy="33"/>
                      </a:xfrm>
                    </p:grpSpPr>
                  </p:grpSp>
                  <p:grpSp>
                    <p:nvGrpSpPr>
                      <p:cNvPr id="30458" name="Group 242"/>
                      <p:cNvGrpSpPr>
                        <a:grpSpLocks noChangeAspect="1"/>
                      </p:cNvGrpSpPr>
                      <p:nvPr/>
                    </p:nvGrpSpPr>
                    <p:grpSpPr bwMode="auto">
                      <a:xfrm>
                        <a:off x="3649" y="2956"/>
                        <a:ext cx="35" cy="33"/>
                        <a:chOff x="3903" y="3708"/>
                        <a:chExt cx="35" cy="33"/>
                      </a:xfrm>
                    </p:grpSpPr>
                  </p:grpSp>
                  <p:grpSp>
                    <p:nvGrpSpPr>
                      <p:cNvPr id="30459" name="Group 245"/>
                      <p:cNvGrpSpPr>
                        <a:grpSpLocks noChangeAspect="1"/>
                      </p:cNvGrpSpPr>
                      <p:nvPr/>
                    </p:nvGrpSpPr>
                    <p:grpSpPr bwMode="auto">
                      <a:xfrm>
                        <a:off x="3877" y="2993"/>
                        <a:ext cx="35" cy="33"/>
                        <a:chOff x="3903" y="3708"/>
                        <a:chExt cx="35" cy="33"/>
                      </a:xfrm>
                    </p:grpSpPr>
                  </p:grpSp>
                </p:grpSp>
                <p:grpSp>
                  <p:nvGrpSpPr>
                    <p:cNvPr id="30417" name="Group 248"/>
                    <p:cNvGrpSpPr>
                      <a:grpSpLocks noChangeAspect="1"/>
                    </p:cNvGrpSpPr>
                    <p:nvPr/>
                  </p:nvGrpSpPr>
                  <p:grpSpPr bwMode="auto">
                    <a:xfrm>
                      <a:off x="3239" y="2979"/>
                      <a:ext cx="670" cy="136"/>
                      <a:chOff x="3242" y="2890"/>
                      <a:chExt cx="670" cy="136"/>
                    </a:xfrm>
                  </p:grpSpPr>
                  <p:grpSp>
                    <p:nvGrpSpPr>
                      <p:cNvPr id="30444" name="Group 249"/>
                      <p:cNvGrpSpPr>
                        <a:grpSpLocks noChangeAspect="1"/>
                      </p:cNvGrpSpPr>
                      <p:nvPr/>
                    </p:nvGrpSpPr>
                    <p:grpSpPr bwMode="auto">
                      <a:xfrm>
                        <a:off x="3242" y="2890"/>
                        <a:ext cx="35" cy="33"/>
                        <a:chOff x="3903" y="3708"/>
                        <a:chExt cx="35" cy="33"/>
                      </a:xfrm>
                    </p:grpSpPr>
                  </p:grpSp>
                  <p:grpSp>
                    <p:nvGrpSpPr>
                      <p:cNvPr id="30445" name="Group 252"/>
                      <p:cNvGrpSpPr>
                        <a:grpSpLocks noChangeAspect="1"/>
                      </p:cNvGrpSpPr>
                      <p:nvPr/>
                    </p:nvGrpSpPr>
                    <p:grpSpPr bwMode="auto">
                      <a:xfrm>
                        <a:off x="3436" y="2922"/>
                        <a:ext cx="35" cy="33"/>
                        <a:chOff x="3903" y="3708"/>
                        <a:chExt cx="35" cy="33"/>
                      </a:xfrm>
                    </p:grpSpPr>
                  </p:grpSp>
                  <p:grpSp>
                    <p:nvGrpSpPr>
                      <p:cNvPr id="30446" name="Group 255"/>
                      <p:cNvGrpSpPr>
                        <a:grpSpLocks noChangeAspect="1"/>
                      </p:cNvGrpSpPr>
                      <p:nvPr/>
                    </p:nvGrpSpPr>
                    <p:grpSpPr bwMode="auto">
                      <a:xfrm>
                        <a:off x="3649" y="2956"/>
                        <a:ext cx="35" cy="33"/>
                        <a:chOff x="3903" y="3708"/>
                        <a:chExt cx="35" cy="33"/>
                      </a:xfrm>
                    </p:grpSpPr>
                  </p:grpSp>
                  <p:grpSp>
                    <p:nvGrpSpPr>
                      <p:cNvPr id="30447" name="Group 258"/>
                      <p:cNvGrpSpPr>
                        <a:grpSpLocks noChangeAspect="1"/>
                      </p:cNvGrpSpPr>
                      <p:nvPr/>
                    </p:nvGrpSpPr>
                    <p:grpSpPr bwMode="auto">
                      <a:xfrm>
                        <a:off x="3877" y="2993"/>
                        <a:ext cx="35" cy="33"/>
                        <a:chOff x="3903" y="3708"/>
                        <a:chExt cx="35" cy="33"/>
                      </a:xfrm>
                    </p:grpSpPr>
                  </p:grpSp>
                </p:grpSp>
                <p:grpSp>
                  <p:nvGrpSpPr>
                    <p:cNvPr id="30418" name="Group 261"/>
                    <p:cNvGrpSpPr>
                      <a:grpSpLocks noChangeAspect="1"/>
                    </p:cNvGrpSpPr>
                    <p:nvPr/>
                  </p:nvGrpSpPr>
                  <p:grpSpPr bwMode="auto">
                    <a:xfrm>
                      <a:off x="3235" y="3075"/>
                      <a:ext cx="670" cy="136"/>
                      <a:chOff x="3242" y="2890"/>
                      <a:chExt cx="670" cy="136"/>
                    </a:xfrm>
                  </p:grpSpPr>
                  <p:grpSp>
                    <p:nvGrpSpPr>
                      <p:cNvPr id="30432" name="Group 262"/>
                      <p:cNvGrpSpPr>
                        <a:grpSpLocks noChangeAspect="1"/>
                      </p:cNvGrpSpPr>
                      <p:nvPr/>
                    </p:nvGrpSpPr>
                    <p:grpSpPr bwMode="auto">
                      <a:xfrm>
                        <a:off x="3242" y="2890"/>
                        <a:ext cx="35" cy="33"/>
                        <a:chOff x="3903" y="3708"/>
                        <a:chExt cx="35" cy="33"/>
                      </a:xfrm>
                    </p:grpSpPr>
                  </p:grpSp>
                  <p:grpSp>
                    <p:nvGrpSpPr>
                      <p:cNvPr id="30433" name="Group 265"/>
                      <p:cNvGrpSpPr>
                        <a:grpSpLocks noChangeAspect="1"/>
                      </p:cNvGrpSpPr>
                      <p:nvPr/>
                    </p:nvGrpSpPr>
                    <p:grpSpPr bwMode="auto">
                      <a:xfrm>
                        <a:off x="3436" y="2922"/>
                        <a:ext cx="35" cy="33"/>
                        <a:chOff x="3903" y="3708"/>
                        <a:chExt cx="35" cy="33"/>
                      </a:xfrm>
                    </p:grpSpPr>
                  </p:grpSp>
                  <p:grpSp>
                    <p:nvGrpSpPr>
                      <p:cNvPr id="30434" name="Group 268"/>
                      <p:cNvGrpSpPr>
                        <a:grpSpLocks noChangeAspect="1"/>
                      </p:cNvGrpSpPr>
                      <p:nvPr/>
                    </p:nvGrpSpPr>
                    <p:grpSpPr bwMode="auto">
                      <a:xfrm>
                        <a:off x="3649" y="2956"/>
                        <a:ext cx="35" cy="33"/>
                        <a:chOff x="3903" y="3708"/>
                        <a:chExt cx="35" cy="33"/>
                      </a:xfrm>
                    </p:grpSpPr>
                  </p:grpSp>
                  <p:grpSp>
                    <p:nvGrpSpPr>
                      <p:cNvPr id="30435" name="Group 271"/>
                      <p:cNvGrpSpPr>
                        <a:grpSpLocks noChangeAspect="1"/>
                      </p:cNvGrpSpPr>
                      <p:nvPr/>
                    </p:nvGrpSpPr>
                    <p:grpSpPr bwMode="auto">
                      <a:xfrm>
                        <a:off x="3877" y="2993"/>
                        <a:ext cx="35" cy="33"/>
                        <a:chOff x="3903" y="3708"/>
                        <a:chExt cx="35" cy="33"/>
                      </a:xfrm>
                    </p:grpSpPr>
                  </p:grpSp>
                </p:grpSp>
                <p:grpSp>
                  <p:nvGrpSpPr>
                    <p:cNvPr id="30419" name="Group 274"/>
                    <p:cNvGrpSpPr>
                      <a:grpSpLocks noChangeAspect="1"/>
                    </p:cNvGrpSpPr>
                    <p:nvPr/>
                  </p:nvGrpSpPr>
                  <p:grpSpPr bwMode="auto">
                    <a:xfrm>
                      <a:off x="3231" y="3179"/>
                      <a:ext cx="670" cy="136"/>
                      <a:chOff x="3242" y="2890"/>
                      <a:chExt cx="670" cy="136"/>
                    </a:xfrm>
                  </p:grpSpPr>
                  <p:grpSp>
                    <p:nvGrpSpPr>
                      <p:cNvPr id="30420" name="Group 275"/>
                      <p:cNvGrpSpPr>
                        <a:grpSpLocks noChangeAspect="1"/>
                      </p:cNvGrpSpPr>
                      <p:nvPr/>
                    </p:nvGrpSpPr>
                    <p:grpSpPr bwMode="auto">
                      <a:xfrm>
                        <a:off x="3242" y="2890"/>
                        <a:ext cx="35" cy="33"/>
                        <a:chOff x="3903" y="3708"/>
                        <a:chExt cx="35" cy="33"/>
                      </a:xfrm>
                    </p:grpSpPr>
                  </p:grpSp>
                  <p:grpSp>
                    <p:nvGrpSpPr>
                      <p:cNvPr id="30421" name="Group 278"/>
                      <p:cNvGrpSpPr>
                        <a:grpSpLocks noChangeAspect="1"/>
                      </p:cNvGrpSpPr>
                      <p:nvPr/>
                    </p:nvGrpSpPr>
                    <p:grpSpPr bwMode="auto">
                      <a:xfrm>
                        <a:off x="3436" y="2922"/>
                        <a:ext cx="35" cy="33"/>
                        <a:chOff x="3903" y="3708"/>
                        <a:chExt cx="35" cy="33"/>
                      </a:xfrm>
                    </p:grpSpPr>
                  </p:grpSp>
                  <p:grpSp>
                    <p:nvGrpSpPr>
                      <p:cNvPr id="30422" name="Group 281"/>
                      <p:cNvGrpSpPr>
                        <a:grpSpLocks noChangeAspect="1"/>
                      </p:cNvGrpSpPr>
                      <p:nvPr/>
                    </p:nvGrpSpPr>
                    <p:grpSpPr bwMode="auto">
                      <a:xfrm>
                        <a:off x="3649" y="2956"/>
                        <a:ext cx="35" cy="33"/>
                        <a:chOff x="3903" y="3708"/>
                        <a:chExt cx="35" cy="33"/>
                      </a:xfrm>
                    </p:grpSpPr>
                  </p:grpSp>
                  <p:grpSp>
                    <p:nvGrpSpPr>
                      <p:cNvPr id="30423" name="Group 284"/>
                      <p:cNvGrpSpPr>
                        <a:grpSpLocks noChangeAspect="1"/>
                      </p:cNvGrpSpPr>
                      <p:nvPr/>
                    </p:nvGrpSpPr>
                    <p:grpSpPr bwMode="auto">
                      <a:xfrm>
                        <a:off x="3877" y="2993"/>
                        <a:ext cx="35" cy="33"/>
                        <a:chOff x="3903" y="3708"/>
                        <a:chExt cx="35" cy="33"/>
                      </a:xfrm>
                    </p:grpSpPr>
                  </p:grpSp>
                </p:grpSp>
              </p:grpSp>
              <p:grpSp>
                <p:nvGrpSpPr>
                  <p:cNvPr id="30391" name="Group 287"/>
                  <p:cNvGrpSpPr>
                    <a:grpSpLocks noChangeAspect="1"/>
                  </p:cNvGrpSpPr>
                  <p:nvPr/>
                </p:nvGrpSpPr>
                <p:grpSpPr bwMode="auto">
                  <a:xfrm>
                    <a:off x="1110" y="1602"/>
                    <a:ext cx="269" cy="330"/>
                    <a:chOff x="2362" y="3405"/>
                    <a:chExt cx="352" cy="432"/>
                  </a:xfrm>
                </p:grpSpPr>
                <p:sp>
                  <p:nvSpPr>
                    <p:cNvPr id="30400" name="Oval 296"/>
                    <p:cNvSpPr>
                      <a:spLocks noChangeAspect="1" noChangeArrowheads="1"/>
                    </p:cNvSpPr>
                    <p:nvPr/>
                  </p:nvSpPr>
                  <p:spPr bwMode="auto">
                    <a:xfrm>
                      <a:off x="2364" y="3405"/>
                      <a:ext cx="350" cy="117"/>
                    </a:xfrm>
                    <a:prstGeom prst="ellipse">
                      <a:avLst/>
                    </a:prstGeom>
                    <a:solidFill>
                      <a:srgbClr val="8BA6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grpSp>
              <p:nvGrpSpPr>
                <p:cNvPr id="30305" name="Group 298"/>
                <p:cNvGrpSpPr>
                  <a:grpSpLocks noChangeAspect="1"/>
                </p:cNvGrpSpPr>
                <p:nvPr/>
              </p:nvGrpSpPr>
              <p:grpSpPr bwMode="auto">
                <a:xfrm>
                  <a:off x="1712" y="1814"/>
                  <a:ext cx="318" cy="227"/>
                  <a:chOff x="240" y="1134"/>
                  <a:chExt cx="1335" cy="798"/>
                </a:xfrm>
              </p:grpSpPr>
              <p:grpSp>
                <p:nvGrpSpPr>
                  <p:cNvPr id="30312" name="Group 299"/>
                  <p:cNvGrpSpPr>
                    <a:grpSpLocks noChangeAspect="1"/>
                  </p:cNvGrpSpPr>
                  <p:nvPr/>
                </p:nvGrpSpPr>
                <p:grpSpPr bwMode="auto">
                  <a:xfrm>
                    <a:off x="240" y="1134"/>
                    <a:ext cx="1335" cy="734"/>
                    <a:chOff x="3007" y="2646"/>
                    <a:chExt cx="1335" cy="734"/>
                  </a:xfrm>
                </p:grpSpPr>
                <p:sp>
                  <p:nvSpPr>
                    <p:cNvPr id="30330" name="Freeform 306"/>
                    <p:cNvSpPr>
                      <a:spLocks noChangeAspect="1"/>
                    </p:cNvSpPr>
                    <p:nvPr/>
                  </p:nvSpPr>
                  <p:spPr bwMode="auto">
                    <a:xfrm>
                      <a:off x="3069" y="2817"/>
                      <a:ext cx="5" cy="403"/>
                    </a:xfrm>
                    <a:custGeom>
                      <a:avLst/>
                      <a:gdLst>
                        <a:gd name="T0" fmla="*/ 0 w 2"/>
                        <a:gd name="T1" fmla="*/ 1456 h 212"/>
                        <a:gd name="T2" fmla="*/ 0 w 2"/>
                        <a:gd name="T3" fmla="*/ 0 h 212"/>
                        <a:gd name="T4" fmla="*/ 33 w 2"/>
                        <a:gd name="T5" fmla="*/ 15 h 212"/>
                        <a:gd name="T6" fmla="*/ 33 w 2"/>
                        <a:gd name="T7" fmla="*/ 1456 h 212"/>
                        <a:gd name="T8" fmla="*/ 0 w 2"/>
                        <a:gd name="T9" fmla="*/ 1456 h 2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12">
                          <a:moveTo>
                            <a:pt x="0" y="212"/>
                          </a:moveTo>
                          <a:lnTo>
                            <a:pt x="0" y="0"/>
                          </a:lnTo>
                          <a:lnTo>
                            <a:pt x="2" y="2"/>
                          </a:lnTo>
                          <a:lnTo>
                            <a:pt x="2" y="212"/>
                          </a:lnTo>
                          <a:lnTo>
                            <a:pt x="0" y="212"/>
                          </a:lnTo>
                          <a:close/>
                        </a:path>
                      </a:pathLst>
                    </a:custGeom>
                    <a:solidFill>
                      <a:srgbClr val="0C3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331" name="Rectangle 307"/>
                    <p:cNvSpPr>
                      <a:spLocks noChangeAspect="1" noChangeArrowheads="1"/>
                    </p:cNvSpPr>
                    <p:nvPr/>
                  </p:nvSpPr>
                  <p:spPr bwMode="auto">
                    <a:xfrm>
                      <a:off x="3972" y="2952"/>
                      <a:ext cx="5" cy="4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332" name="Rectangle 308"/>
                    <p:cNvSpPr>
                      <a:spLocks noChangeAspect="1" noChangeArrowheads="1"/>
                    </p:cNvSpPr>
                    <p:nvPr/>
                  </p:nvSpPr>
                  <p:spPr bwMode="auto">
                    <a:xfrm>
                      <a:off x="3977" y="2952"/>
                      <a:ext cx="9" cy="415"/>
                    </a:xfrm>
                    <a:prstGeom prst="rect">
                      <a:avLst/>
                    </a:prstGeom>
                    <a:solidFill>
                      <a:srgbClr val="0C3C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30338" name="Group 314"/>
                    <p:cNvGrpSpPr>
                      <a:grpSpLocks noChangeAspect="1"/>
                    </p:cNvGrpSpPr>
                    <p:nvPr/>
                  </p:nvGrpSpPr>
                  <p:grpSpPr bwMode="auto">
                    <a:xfrm>
                      <a:off x="3242" y="2890"/>
                      <a:ext cx="670" cy="136"/>
                      <a:chOff x="3242" y="2890"/>
                      <a:chExt cx="670" cy="136"/>
                    </a:xfrm>
                  </p:grpSpPr>
                  <p:grpSp>
                    <p:nvGrpSpPr>
                      <p:cNvPr id="30378" name="Group 315"/>
                      <p:cNvGrpSpPr>
                        <a:grpSpLocks noChangeAspect="1"/>
                      </p:cNvGrpSpPr>
                      <p:nvPr/>
                    </p:nvGrpSpPr>
                    <p:grpSpPr bwMode="auto">
                      <a:xfrm>
                        <a:off x="3242" y="2890"/>
                        <a:ext cx="35" cy="33"/>
                        <a:chOff x="3903" y="3708"/>
                        <a:chExt cx="35" cy="33"/>
                      </a:xfrm>
                    </p:grpSpPr>
                  </p:grpSp>
                  <p:grpSp>
                    <p:nvGrpSpPr>
                      <p:cNvPr id="30379" name="Group 318"/>
                      <p:cNvGrpSpPr>
                        <a:grpSpLocks noChangeAspect="1"/>
                      </p:cNvGrpSpPr>
                      <p:nvPr/>
                    </p:nvGrpSpPr>
                    <p:grpSpPr bwMode="auto">
                      <a:xfrm>
                        <a:off x="3436" y="2922"/>
                        <a:ext cx="35" cy="33"/>
                        <a:chOff x="3903" y="3708"/>
                        <a:chExt cx="35" cy="33"/>
                      </a:xfrm>
                    </p:grpSpPr>
                  </p:grpSp>
                  <p:grpSp>
                    <p:nvGrpSpPr>
                      <p:cNvPr id="30380" name="Group 321"/>
                      <p:cNvGrpSpPr>
                        <a:grpSpLocks noChangeAspect="1"/>
                      </p:cNvGrpSpPr>
                      <p:nvPr/>
                    </p:nvGrpSpPr>
                    <p:grpSpPr bwMode="auto">
                      <a:xfrm>
                        <a:off x="3649" y="2956"/>
                        <a:ext cx="35" cy="33"/>
                        <a:chOff x="3903" y="3708"/>
                        <a:chExt cx="35" cy="33"/>
                      </a:xfrm>
                    </p:grpSpPr>
                  </p:grpSp>
                  <p:grpSp>
                    <p:nvGrpSpPr>
                      <p:cNvPr id="30381" name="Group 324"/>
                      <p:cNvGrpSpPr>
                        <a:grpSpLocks noChangeAspect="1"/>
                      </p:cNvGrpSpPr>
                      <p:nvPr/>
                    </p:nvGrpSpPr>
                    <p:grpSpPr bwMode="auto">
                      <a:xfrm>
                        <a:off x="3877" y="2993"/>
                        <a:ext cx="35" cy="33"/>
                        <a:chOff x="3903" y="3708"/>
                        <a:chExt cx="35" cy="33"/>
                      </a:xfrm>
                    </p:grpSpPr>
                  </p:grpSp>
                </p:grpSp>
                <p:grpSp>
                  <p:nvGrpSpPr>
                    <p:cNvPr id="30339" name="Group 327"/>
                    <p:cNvGrpSpPr>
                      <a:grpSpLocks noChangeAspect="1"/>
                    </p:cNvGrpSpPr>
                    <p:nvPr/>
                  </p:nvGrpSpPr>
                  <p:grpSpPr bwMode="auto">
                    <a:xfrm>
                      <a:off x="3239" y="2979"/>
                      <a:ext cx="670" cy="136"/>
                      <a:chOff x="3242" y="2890"/>
                      <a:chExt cx="670" cy="136"/>
                    </a:xfrm>
                  </p:grpSpPr>
                  <p:grpSp>
                    <p:nvGrpSpPr>
                      <p:cNvPr id="30366" name="Group 328"/>
                      <p:cNvGrpSpPr>
                        <a:grpSpLocks noChangeAspect="1"/>
                      </p:cNvGrpSpPr>
                      <p:nvPr/>
                    </p:nvGrpSpPr>
                    <p:grpSpPr bwMode="auto">
                      <a:xfrm>
                        <a:off x="3242" y="2890"/>
                        <a:ext cx="35" cy="33"/>
                        <a:chOff x="3903" y="3708"/>
                        <a:chExt cx="35" cy="33"/>
                      </a:xfrm>
                    </p:grpSpPr>
                  </p:grpSp>
                  <p:grpSp>
                    <p:nvGrpSpPr>
                      <p:cNvPr id="30367" name="Group 331"/>
                      <p:cNvGrpSpPr>
                        <a:grpSpLocks noChangeAspect="1"/>
                      </p:cNvGrpSpPr>
                      <p:nvPr/>
                    </p:nvGrpSpPr>
                    <p:grpSpPr bwMode="auto">
                      <a:xfrm>
                        <a:off x="3436" y="2922"/>
                        <a:ext cx="35" cy="33"/>
                        <a:chOff x="3903" y="3708"/>
                        <a:chExt cx="35" cy="33"/>
                      </a:xfrm>
                    </p:grpSpPr>
                  </p:grpSp>
                  <p:grpSp>
                    <p:nvGrpSpPr>
                      <p:cNvPr id="30368" name="Group 334"/>
                      <p:cNvGrpSpPr>
                        <a:grpSpLocks noChangeAspect="1"/>
                      </p:cNvGrpSpPr>
                      <p:nvPr/>
                    </p:nvGrpSpPr>
                    <p:grpSpPr bwMode="auto">
                      <a:xfrm>
                        <a:off x="3649" y="2956"/>
                        <a:ext cx="35" cy="33"/>
                        <a:chOff x="3903" y="3708"/>
                        <a:chExt cx="35" cy="33"/>
                      </a:xfrm>
                    </p:grpSpPr>
                  </p:grpSp>
                  <p:grpSp>
                    <p:nvGrpSpPr>
                      <p:cNvPr id="30369" name="Group 337"/>
                      <p:cNvGrpSpPr>
                        <a:grpSpLocks noChangeAspect="1"/>
                      </p:cNvGrpSpPr>
                      <p:nvPr/>
                    </p:nvGrpSpPr>
                    <p:grpSpPr bwMode="auto">
                      <a:xfrm>
                        <a:off x="3877" y="2993"/>
                        <a:ext cx="35" cy="33"/>
                        <a:chOff x="3903" y="3708"/>
                        <a:chExt cx="35" cy="33"/>
                      </a:xfrm>
                    </p:grpSpPr>
                  </p:grpSp>
                </p:grpSp>
                <p:grpSp>
                  <p:nvGrpSpPr>
                    <p:cNvPr id="30340" name="Group 340"/>
                    <p:cNvGrpSpPr>
                      <a:grpSpLocks noChangeAspect="1"/>
                    </p:cNvGrpSpPr>
                    <p:nvPr/>
                  </p:nvGrpSpPr>
                  <p:grpSpPr bwMode="auto">
                    <a:xfrm>
                      <a:off x="3235" y="3075"/>
                      <a:ext cx="670" cy="136"/>
                      <a:chOff x="3242" y="2890"/>
                      <a:chExt cx="670" cy="136"/>
                    </a:xfrm>
                  </p:grpSpPr>
                  <p:grpSp>
                    <p:nvGrpSpPr>
                      <p:cNvPr id="30354" name="Group 341"/>
                      <p:cNvGrpSpPr>
                        <a:grpSpLocks noChangeAspect="1"/>
                      </p:cNvGrpSpPr>
                      <p:nvPr/>
                    </p:nvGrpSpPr>
                    <p:grpSpPr bwMode="auto">
                      <a:xfrm>
                        <a:off x="3242" y="2890"/>
                        <a:ext cx="35" cy="33"/>
                        <a:chOff x="3903" y="3708"/>
                        <a:chExt cx="35" cy="33"/>
                      </a:xfrm>
                    </p:grpSpPr>
                  </p:grpSp>
                  <p:grpSp>
                    <p:nvGrpSpPr>
                      <p:cNvPr id="30355" name="Group 344"/>
                      <p:cNvGrpSpPr>
                        <a:grpSpLocks noChangeAspect="1"/>
                      </p:cNvGrpSpPr>
                      <p:nvPr/>
                    </p:nvGrpSpPr>
                    <p:grpSpPr bwMode="auto">
                      <a:xfrm>
                        <a:off x="3436" y="2922"/>
                        <a:ext cx="35" cy="33"/>
                        <a:chOff x="3903" y="3708"/>
                        <a:chExt cx="35" cy="33"/>
                      </a:xfrm>
                    </p:grpSpPr>
                  </p:grpSp>
                  <p:grpSp>
                    <p:nvGrpSpPr>
                      <p:cNvPr id="30356" name="Group 347"/>
                      <p:cNvGrpSpPr>
                        <a:grpSpLocks noChangeAspect="1"/>
                      </p:cNvGrpSpPr>
                      <p:nvPr/>
                    </p:nvGrpSpPr>
                    <p:grpSpPr bwMode="auto">
                      <a:xfrm>
                        <a:off x="3649" y="2956"/>
                        <a:ext cx="35" cy="33"/>
                        <a:chOff x="3903" y="3708"/>
                        <a:chExt cx="35" cy="33"/>
                      </a:xfrm>
                    </p:grpSpPr>
                  </p:grpSp>
                  <p:grpSp>
                    <p:nvGrpSpPr>
                      <p:cNvPr id="30357" name="Group 350"/>
                      <p:cNvGrpSpPr>
                        <a:grpSpLocks noChangeAspect="1"/>
                      </p:cNvGrpSpPr>
                      <p:nvPr/>
                    </p:nvGrpSpPr>
                    <p:grpSpPr bwMode="auto">
                      <a:xfrm>
                        <a:off x="3877" y="2993"/>
                        <a:ext cx="35" cy="33"/>
                        <a:chOff x="3903" y="3708"/>
                        <a:chExt cx="35" cy="33"/>
                      </a:xfrm>
                    </p:grpSpPr>
                  </p:grpSp>
                </p:grpSp>
                <p:grpSp>
                  <p:nvGrpSpPr>
                    <p:cNvPr id="30341" name="Group 353"/>
                    <p:cNvGrpSpPr>
                      <a:grpSpLocks noChangeAspect="1"/>
                    </p:cNvGrpSpPr>
                    <p:nvPr/>
                  </p:nvGrpSpPr>
                  <p:grpSpPr bwMode="auto">
                    <a:xfrm>
                      <a:off x="3231" y="3179"/>
                      <a:ext cx="670" cy="136"/>
                      <a:chOff x="3242" y="2890"/>
                      <a:chExt cx="670" cy="136"/>
                    </a:xfrm>
                  </p:grpSpPr>
                  <p:grpSp>
                    <p:nvGrpSpPr>
                      <p:cNvPr id="30342" name="Group 354"/>
                      <p:cNvGrpSpPr>
                        <a:grpSpLocks noChangeAspect="1"/>
                      </p:cNvGrpSpPr>
                      <p:nvPr/>
                    </p:nvGrpSpPr>
                    <p:grpSpPr bwMode="auto">
                      <a:xfrm>
                        <a:off x="3242" y="2890"/>
                        <a:ext cx="35" cy="33"/>
                        <a:chOff x="3903" y="3708"/>
                        <a:chExt cx="35" cy="33"/>
                      </a:xfrm>
                    </p:grpSpPr>
                  </p:grpSp>
                  <p:grpSp>
                    <p:nvGrpSpPr>
                      <p:cNvPr id="30343" name="Group 357"/>
                      <p:cNvGrpSpPr>
                        <a:grpSpLocks noChangeAspect="1"/>
                      </p:cNvGrpSpPr>
                      <p:nvPr/>
                    </p:nvGrpSpPr>
                    <p:grpSpPr bwMode="auto">
                      <a:xfrm>
                        <a:off x="3436" y="2922"/>
                        <a:ext cx="35" cy="33"/>
                        <a:chOff x="3903" y="3708"/>
                        <a:chExt cx="35" cy="33"/>
                      </a:xfrm>
                    </p:grpSpPr>
                  </p:grpSp>
                  <p:grpSp>
                    <p:nvGrpSpPr>
                      <p:cNvPr id="30344" name="Group 360"/>
                      <p:cNvGrpSpPr>
                        <a:grpSpLocks noChangeAspect="1"/>
                      </p:cNvGrpSpPr>
                      <p:nvPr/>
                    </p:nvGrpSpPr>
                    <p:grpSpPr bwMode="auto">
                      <a:xfrm>
                        <a:off x="3649" y="2956"/>
                        <a:ext cx="35" cy="33"/>
                        <a:chOff x="3903" y="3708"/>
                        <a:chExt cx="35" cy="33"/>
                      </a:xfrm>
                    </p:grpSpPr>
                  </p:grpSp>
                  <p:grpSp>
                    <p:nvGrpSpPr>
                      <p:cNvPr id="30345" name="Group 363"/>
                      <p:cNvGrpSpPr>
                        <a:grpSpLocks noChangeAspect="1"/>
                      </p:cNvGrpSpPr>
                      <p:nvPr/>
                    </p:nvGrpSpPr>
                    <p:grpSpPr bwMode="auto">
                      <a:xfrm>
                        <a:off x="3877" y="2993"/>
                        <a:ext cx="35" cy="33"/>
                        <a:chOff x="3903" y="3708"/>
                        <a:chExt cx="35" cy="33"/>
                      </a:xfrm>
                    </p:grpSpPr>
                  </p:grpSp>
                </p:grpSp>
              </p:grpSp>
              <p:grpSp>
                <p:nvGrpSpPr>
                  <p:cNvPr id="30313" name="Group 366"/>
                  <p:cNvGrpSpPr>
                    <a:grpSpLocks noChangeAspect="1"/>
                  </p:cNvGrpSpPr>
                  <p:nvPr/>
                </p:nvGrpSpPr>
                <p:grpSpPr bwMode="auto">
                  <a:xfrm>
                    <a:off x="1110" y="1602"/>
                    <a:ext cx="269" cy="330"/>
                    <a:chOff x="2362" y="3405"/>
                    <a:chExt cx="352" cy="432"/>
                  </a:xfrm>
                </p:grpSpPr>
                <p:sp>
                  <p:nvSpPr>
                    <p:cNvPr id="30322" name="Oval 375"/>
                    <p:cNvSpPr>
                      <a:spLocks noChangeAspect="1" noChangeArrowheads="1"/>
                    </p:cNvSpPr>
                    <p:nvPr/>
                  </p:nvSpPr>
                  <p:spPr bwMode="auto">
                    <a:xfrm>
                      <a:off x="2364" y="3405"/>
                      <a:ext cx="350" cy="117"/>
                    </a:xfrm>
                    <a:prstGeom prst="ellipse">
                      <a:avLst/>
                    </a:prstGeom>
                    <a:solidFill>
                      <a:srgbClr val="8BA6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sp>
              <p:nvSpPr>
                <p:cNvPr id="30306" name="Oval 377"/>
                <p:cNvSpPr>
                  <a:spLocks noChangeArrowheads="1"/>
                </p:cNvSpPr>
                <p:nvPr/>
              </p:nvSpPr>
              <p:spPr bwMode="auto">
                <a:xfrm>
                  <a:off x="578" y="1270"/>
                  <a:ext cx="1452" cy="272"/>
                </a:xfrm>
                <a:prstGeom prst="ellipse">
                  <a:avLst/>
                </a:prstGeom>
                <a:noFill/>
                <a:ln w="19050" algn="ctr">
                  <a:solidFill>
                    <a:srgbClr val="008000"/>
                  </a:solidFill>
                  <a:round/>
                  <a:headEnd/>
                  <a:tailEnd/>
                </a:ln>
                <a:effectLst/>
                <a:extLst>
                  <a:ext uri="{909E8E84-426E-40DD-AFC4-6F175D3DCCD1}">
                    <a14:hiddenFill xmlns:a14="http://schemas.microsoft.com/office/drawing/2010/main">
                      <a:solidFill>
                        <a:srgbClr val="01BC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30307" name="Text Box 378"/>
                <p:cNvSpPr txBox="1">
                  <a:spLocks noChangeArrowheads="1"/>
                </p:cNvSpPr>
                <p:nvPr/>
              </p:nvSpPr>
              <p:spPr bwMode="auto">
                <a:xfrm>
                  <a:off x="941" y="1313"/>
                  <a:ext cx="334" cy="280"/>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spAutoFit/>
                </a:bodyPr>
                <a:lstStyle>
                  <a:lvl1pPr defTabSz="877888" eaLnBrk="0" hangingPunct="0">
                    <a:defRPr sz="1200" b="1">
                      <a:solidFill>
                        <a:schemeClr val="tx1"/>
                      </a:solidFill>
                      <a:latin typeface="微软雅黑" pitchFamily="34" charset="-122"/>
                      <a:ea typeface="微软雅黑" pitchFamily="34" charset="-122"/>
                    </a:defRPr>
                  </a:lvl1pPr>
                  <a:lvl2pPr marL="742950" indent="-285750" defTabSz="877888" eaLnBrk="0" hangingPunct="0">
                    <a:defRPr sz="1200" b="1">
                      <a:solidFill>
                        <a:schemeClr val="tx1"/>
                      </a:solidFill>
                      <a:latin typeface="微软雅黑" pitchFamily="34" charset="-122"/>
                      <a:ea typeface="微软雅黑" pitchFamily="34" charset="-122"/>
                    </a:defRPr>
                  </a:lvl2pPr>
                  <a:lvl3pPr marL="1143000" indent="-228600" defTabSz="877888" eaLnBrk="0" hangingPunct="0">
                    <a:defRPr sz="1200" b="1">
                      <a:solidFill>
                        <a:schemeClr val="tx1"/>
                      </a:solidFill>
                      <a:latin typeface="微软雅黑" pitchFamily="34" charset="-122"/>
                      <a:ea typeface="微软雅黑" pitchFamily="34" charset="-122"/>
                    </a:defRPr>
                  </a:lvl3pPr>
                  <a:lvl4pPr marL="1600200" indent="-228600" defTabSz="877888" eaLnBrk="0" hangingPunct="0">
                    <a:defRPr sz="1200" b="1">
                      <a:solidFill>
                        <a:schemeClr val="tx1"/>
                      </a:solidFill>
                      <a:latin typeface="微软雅黑" pitchFamily="34" charset="-122"/>
                      <a:ea typeface="微软雅黑" pitchFamily="34" charset="-122"/>
                    </a:defRPr>
                  </a:lvl4pPr>
                  <a:lvl5pPr marL="2057400" indent="-228600" defTabSz="877888" eaLnBrk="0" hangingPunct="0">
                    <a:defRPr sz="1200" b="1">
                      <a:solidFill>
                        <a:schemeClr val="tx1"/>
                      </a:solidFill>
                      <a:latin typeface="微软雅黑" pitchFamily="34" charset="-122"/>
                      <a:ea typeface="微软雅黑" pitchFamily="34" charset="-122"/>
                    </a:defRPr>
                  </a:lvl5pPr>
                  <a:lvl6pPr marL="25146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lnSpc>
                      <a:spcPct val="110000"/>
                    </a:lnSpc>
                    <a:buClr>
                      <a:schemeClr val="bg1"/>
                    </a:buClr>
                    <a:buFont typeface="Wingdings" pitchFamily="2" charset="2"/>
                    <a:buNone/>
                  </a:pPr>
                  <a:r>
                    <a:rPr lang="en-US" altLang="zh-CN">
                      <a:latin typeface="Arial" pitchFamily="34" charset="0"/>
                      <a:ea typeface="华文细黑" pitchFamily="2" charset="-122"/>
                    </a:rPr>
                    <a:t>SAN</a:t>
                  </a:r>
                </a:p>
              </p:txBody>
            </p:sp>
            <p:sp>
              <p:nvSpPr>
                <p:cNvPr id="30309" name="AutoShape 380"/>
                <p:cNvSpPr>
                  <a:spLocks noChangeArrowheads="1"/>
                </p:cNvSpPr>
                <p:nvPr/>
              </p:nvSpPr>
              <p:spPr bwMode="auto">
                <a:xfrm>
                  <a:off x="1077" y="1179"/>
                  <a:ext cx="136" cy="726"/>
                </a:xfrm>
                <a:prstGeom prst="triangle">
                  <a:avLst>
                    <a:gd name="adj" fmla="val 50000"/>
                  </a:avLst>
                </a:prstGeom>
                <a:solidFill>
                  <a:srgbClr val="FF0000">
                    <a:alpha val="2509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30310" name="AutoShape 381"/>
                <p:cNvSpPr>
                  <a:spLocks noChangeArrowheads="1"/>
                </p:cNvSpPr>
                <p:nvPr/>
              </p:nvSpPr>
              <p:spPr bwMode="auto">
                <a:xfrm>
                  <a:off x="1440" y="1179"/>
                  <a:ext cx="408" cy="726"/>
                </a:xfrm>
                <a:prstGeom prst="triangle">
                  <a:avLst>
                    <a:gd name="adj" fmla="val 0"/>
                  </a:avLst>
                </a:prstGeom>
                <a:solidFill>
                  <a:srgbClr val="FF0000">
                    <a:alpha val="2509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30311" name="AutoShape 382"/>
                <p:cNvSpPr>
                  <a:spLocks noChangeArrowheads="1"/>
                </p:cNvSpPr>
                <p:nvPr/>
              </p:nvSpPr>
              <p:spPr bwMode="auto">
                <a:xfrm>
                  <a:off x="1485" y="1179"/>
                  <a:ext cx="409" cy="726"/>
                </a:xfrm>
                <a:prstGeom prst="triangle">
                  <a:avLst>
                    <a:gd name="adj" fmla="val 50000"/>
                  </a:avLst>
                </a:prstGeom>
                <a:solidFill>
                  <a:srgbClr val="01BCFF">
                    <a:alpha val="2509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grpSp>
          <p:sp>
            <p:nvSpPr>
              <p:cNvPr id="30296" name="Text Box 383"/>
              <p:cNvSpPr txBox="1">
                <a:spLocks noChangeArrowheads="1"/>
              </p:cNvSpPr>
              <p:nvPr/>
            </p:nvSpPr>
            <p:spPr bwMode="auto">
              <a:xfrm>
                <a:off x="306" y="927"/>
                <a:ext cx="374" cy="209"/>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spAutoFit/>
              </a:bodyPr>
              <a:lstStyle>
                <a:lvl1pPr defTabSz="877888" eaLnBrk="0" hangingPunct="0">
                  <a:defRPr sz="1200" b="1">
                    <a:solidFill>
                      <a:schemeClr val="tx1"/>
                    </a:solidFill>
                    <a:latin typeface="微软雅黑" pitchFamily="34" charset="-122"/>
                    <a:ea typeface="微软雅黑" pitchFamily="34" charset="-122"/>
                  </a:defRPr>
                </a:lvl1pPr>
                <a:lvl2pPr marL="742950" indent="-285750" defTabSz="877888" eaLnBrk="0" hangingPunct="0">
                  <a:defRPr sz="1200" b="1">
                    <a:solidFill>
                      <a:schemeClr val="tx1"/>
                    </a:solidFill>
                    <a:latin typeface="微软雅黑" pitchFamily="34" charset="-122"/>
                    <a:ea typeface="微软雅黑" pitchFamily="34" charset="-122"/>
                  </a:defRPr>
                </a:lvl2pPr>
                <a:lvl3pPr marL="1143000" indent="-228600" defTabSz="877888" eaLnBrk="0" hangingPunct="0">
                  <a:defRPr sz="1200" b="1">
                    <a:solidFill>
                      <a:schemeClr val="tx1"/>
                    </a:solidFill>
                    <a:latin typeface="微软雅黑" pitchFamily="34" charset="-122"/>
                    <a:ea typeface="微软雅黑" pitchFamily="34" charset="-122"/>
                  </a:defRPr>
                </a:lvl3pPr>
                <a:lvl4pPr marL="1600200" indent="-228600" defTabSz="877888" eaLnBrk="0" hangingPunct="0">
                  <a:defRPr sz="1200" b="1">
                    <a:solidFill>
                      <a:schemeClr val="tx1"/>
                    </a:solidFill>
                    <a:latin typeface="微软雅黑" pitchFamily="34" charset="-122"/>
                    <a:ea typeface="微软雅黑" pitchFamily="34" charset="-122"/>
                  </a:defRPr>
                </a:lvl4pPr>
                <a:lvl5pPr marL="2057400" indent="-228600" defTabSz="877888" eaLnBrk="0" hangingPunct="0">
                  <a:defRPr sz="1200" b="1">
                    <a:solidFill>
                      <a:schemeClr val="tx1"/>
                    </a:solidFill>
                    <a:latin typeface="微软雅黑" pitchFamily="34" charset="-122"/>
                    <a:ea typeface="微软雅黑" pitchFamily="34" charset="-122"/>
                  </a:defRPr>
                </a:lvl5pPr>
                <a:lvl6pPr marL="25146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lnSpc>
                    <a:spcPct val="110000"/>
                  </a:lnSpc>
                  <a:buClr>
                    <a:schemeClr val="bg1"/>
                  </a:buClr>
                  <a:buFont typeface="Wingdings" pitchFamily="2" charset="2"/>
                  <a:buNone/>
                </a:pPr>
                <a:r>
                  <a:rPr lang="zh-CN" altLang="en-US" sz="1000">
                    <a:latin typeface="Arial" pitchFamily="34" charset="0"/>
                    <a:ea typeface="华文细黑" pitchFamily="2" charset="-122"/>
                  </a:rPr>
                  <a:t>服务器</a:t>
                </a:r>
              </a:p>
            </p:txBody>
          </p:sp>
          <p:sp>
            <p:nvSpPr>
              <p:cNvPr id="30297" name="Text Box 384"/>
              <p:cNvSpPr txBox="1">
                <a:spLocks noChangeArrowheads="1"/>
              </p:cNvSpPr>
              <p:nvPr/>
            </p:nvSpPr>
            <p:spPr bwMode="auto">
              <a:xfrm>
                <a:off x="306" y="1588"/>
                <a:ext cx="289" cy="346"/>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spAutoFit/>
              </a:bodyPr>
              <a:lstStyle>
                <a:lvl1pPr defTabSz="877888" eaLnBrk="0" hangingPunct="0">
                  <a:defRPr sz="1200" b="1">
                    <a:solidFill>
                      <a:schemeClr val="tx1"/>
                    </a:solidFill>
                    <a:latin typeface="微软雅黑" pitchFamily="34" charset="-122"/>
                    <a:ea typeface="微软雅黑" pitchFamily="34" charset="-122"/>
                  </a:defRPr>
                </a:lvl1pPr>
                <a:lvl2pPr marL="742950" indent="-285750" defTabSz="877888" eaLnBrk="0" hangingPunct="0">
                  <a:defRPr sz="1200" b="1">
                    <a:solidFill>
                      <a:schemeClr val="tx1"/>
                    </a:solidFill>
                    <a:latin typeface="微软雅黑" pitchFamily="34" charset="-122"/>
                    <a:ea typeface="微软雅黑" pitchFamily="34" charset="-122"/>
                  </a:defRPr>
                </a:lvl2pPr>
                <a:lvl3pPr marL="1143000" indent="-228600" defTabSz="877888" eaLnBrk="0" hangingPunct="0">
                  <a:defRPr sz="1200" b="1">
                    <a:solidFill>
                      <a:schemeClr val="tx1"/>
                    </a:solidFill>
                    <a:latin typeface="微软雅黑" pitchFamily="34" charset="-122"/>
                    <a:ea typeface="微软雅黑" pitchFamily="34" charset="-122"/>
                  </a:defRPr>
                </a:lvl3pPr>
                <a:lvl4pPr marL="1600200" indent="-228600" defTabSz="877888" eaLnBrk="0" hangingPunct="0">
                  <a:defRPr sz="1200" b="1">
                    <a:solidFill>
                      <a:schemeClr val="tx1"/>
                    </a:solidFill>
                    <a:latin typeface="微软雅黑" pitchFamily="34" charset="-122"/>
                    <a:ea typeface="微软雅黑" pitchFamily="34" charset="-122"/>
                  </a:defRPr>
                </a:lvl4pPr>
                <a:lvl5pPr marL="2057400" indent="-228600" defTabSz="877888" eaLnBrk="0" hangingPunct="0">
                  <a:defRPr sz="1200" b="1">
                    <a:solidFill>
                      <a:schemeClr val="tx1"/>
                    </a:solidFill>
                    <a:latin typeface="微软雅黑" pitchFamily="34" charset="-122"/>
                    <a:ea typeface="微软雅黑" pitchFamily="34" charset="-122"/>
                  </a:defRPr>
                </a:lvl5pPr>
                <a:lvl6pPr marL="25146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lnSpc>
                    <a:spcPct val="110000"/>
                  </a:lnSpc>
                  <a:buClr>
                    <a:schemeClr val="bg1"/>
                  </a:buClr>
                  <a:buFont typeface="Wingdings" pitchFamily="2" charset="2"/>
                  <a:buNone/>
                </a:pPr>
                <a:r>
                  <a:rPr lang="zh-CN" altLang="en-US" sz="1000">
                    <a:latin typeface="Arial" pitchFamily="34" charset="0"/>
                    <a:ea typeface="华文细黑" pitchFamily="2" charset="-122"/>
                  </a:rPr>
                  <a:t>磁盘</a:t>
                </a:r>
              </a:p>
              <a:p>
                <a:pPr eaLnBrk="1" hangingPunct="1">
                  <a:lnSpc>
                    <a:spcPct val="110000"/>
                  </a:lnSpc>
                  <a:buClr>
                    <a:schemeClr val="bg1"/>
                  </a:buClr>
                  <a:buFont typeface="Wingdings" pitchFamily="2" charset="2"/>
                  <a:buNone/>
                </a:pPr>
                <a:r>
                  <a:rPr lang="zh-CN" altLang="en-US" sz="1000">
                    <a:latin typeface="Arial" pitchFamily="34" charset="0"/>
                    <a:ea typeface="华文细黑" pitchFamily="2" charset="-122"/>
                  </a:rPr>
                  <a:t>阵列</a:t>
                </a:r>
              </a:p>
            </p:txBody>
          </p:sp>
        </p:grpSp>
        <p:sp>
          <p:nvSpPr>
            <p:cNvPr id="30293" name="Rectangle 385"/>
            <p:cNvSpPr>
              <a:spLocks noChangeArrowheads="1"/>
            </p:cNvSpPr>
            <p:nvPr/>
          </p:nvSpPr>
          <p:spPr bwMode="auto">
            <a:xfrm>
              <a:off x="261" y="771"/>
              <a:ext cx="1860" cy="1225"/>
            </a:xfrm>
            <a:prstGeom prst="rect">
              <a:avLst/>
            </a:prstGeom>
            <a:noFill/>
            <a:ln w="15875" algn="ctr">
              <a:solidFill>
                <a:srgbClr val="00CCFF"/>
              </a:solidFill>
              <a:miter lim="800000"/>
              <a:headEnd/>
              <a:tailEnd/>
            </a:ln>
            <a:effectLst/>
            <a:extLst>
              <a:ext uri="{909E8E84-426E-40DD-AFC4-6F175D3DCCD1}">
                <a14:hiddenFill xmlns:a14="http://schemas.microsoft.com/office/drawing/2010/main">
                  <a:solidFill>
                    <a:srgbClr val="01BC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30294" name="Rectangle 386"/>
            <p:cNvSpPr>
              <a:spLocks noChangeArrowheads="1"/>
            </p:cNvSpPr>
            <p:nvPr/>
          </p:nvSpPr>
          <p:spPr bwMode="auto">
            <a:xfrm>
              <a:off x="556" y="1996"/>
              <a:ext cx="1270" cy="182"/>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817" tIns="43908" rIns="87817" bIns="43908" anchor="ctr"/>
            <a:lstStyle/>
            <a:p>
              <a:pPr algn="ctr" defTabSz="877888">
                <a:lnSpc>
                  <a:spcPct val="110000"/>
                </a:lnSpc>
                <a:buClr>
                  <a:schemeClr val="bg1"/>
                </a:buClr>
                <a:buFont typeface="Wingdings" pitchFamily="2" charset="2"/>
                <a:buNone/>
              </a:pPr>
              <a:r>
                <a:rPr lang="zh-CN" altLang="en-US">
                  <a:latin typeface="Arial" pitchFamily="34" charset="0"/>
                  <a:ea typeface="华文细黑" pitchFamily="2" charset="-122"/>
                </a:rPr>
                <a:t>基于主机的虚拟化</a:t>
              </a:r>
            </a:p>
          </p:txBody>
        </p:sp>
      </p:grpSp>
      <p:grpSp>
        <p:nvGrpSpPr>
          <p:cNvPr id="29705" name="Group 387"/>
          <p:cNvGrpSpPr>
            <a:grpSpLocks/>
          </p:cNvGrpSpPr>
          <p:nvPr/>
        </p:nvGrpSpPr>
        <p:grpSpPr bwMode="auto">
          <a:xfrm>
            <a:off x="3203575" y="2006600"/>
            <a:ext cx="2762250" cy="1728788"/>
            <a:chOff x="2257" y="771"/>
            <a:chExt cx="1860" cy="1407"/>
          </a:xfrm>
        </p:grpSpPr>
        <p:grpSp>
          <p:nvGrpSpPr>
            <p:cNvPr id="30081" name="Group 388"/>
            <p:cNvGrpSpPr>
              <a:grpSpLocks/>
            </p:cNvGrpSpPr>
            <p:nvPr/>
          </p:nvGrpSpPr>
          <p:grpSpPr bwMode="auto">
            <a:xfrm>
              <a:off x="2325" y="862"/>
              <a:ext cx="1724" cy="1072"/>
              <a:chOff x="2257" y="862"/>
              <a:chExt cx="1724" cy="1072"/>
            </a:xfrm>
          </p:grpSpPr>
          <p:grpSp>
            <p:nvGrpSpPr>
              <p:cNvPr id="30084" name="Group 389"/>
              <p:cNvGrpSpPr>
                <a:grpSpLocks noChangeAspect="1"/>
              </p:cNvGrpSpPr>
              <p:nvPr/>
            </p:nvGrpSpPr>
            <p:grpSpPr bwMode="auto">
              <a:xfrm>
                <a:off x="2756" y="862"/>
                <a:ext cx="203" cy="284"/>
                <a:chOff x="1514" y="1106"/>
                <a:chExt cx="367" cy="605"/>
              </a:xfrm>
            </p:grpSpPr>
            <p:sp>
              <p:nvSpPr>
                <p:cNvPr id="30282" name="AutoShape 390"/>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84" name="Rectangle 392"/>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85" name="Freeform 393"/>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287" name="Rectangle 395"/>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88" name="Rectangle 396"/>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89" name="Rectangle 397"/>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90" name="Rectangle 398"/>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91" name="Rectangle 399"/>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30085" name="Group 400"/>
              <p:cNvGrpSpPr>
                <a:grpSpLocks noChangeAspect="1"/>
              </p:cNvGrpSpPr>
              <p:nvPr/>
            </p:nvGrpSpPr>
            <p:grpSpPr bwMode="auto">
              <a:xfrm>
                <a:off x="3028" y="862"/>
                <a:ext cx="203" cy="284"/>
                <a:chOff x="1514" y="1106"/>
                <a:chExt cx="367" cy="605"/>
              </a:xfrm>
            </p:grpSpPr>
            <p:sp>
              <p:nvSpPr>
                <p:cNvPr id="30272" name="AutoShape 401"/>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74" name="Rectangle 403"/>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75" name="Freeform 404"/>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277" name="Rectangle 406"/>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78" name="Rectangle 407"/>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79" name="Rectangle 408"/>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80" name="Rectangle 409"/>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81" name="Rectangle 410"/>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30086" name="Group 411"/>
              <p:cNvGrpSpPr>
                <a:grpSpLocks noChangeAspect="1"/>
              </p:cNvGrpSpPr>
              <p:nvPr/>
            </p:nvGrpSpPr>
            <p:grpSpPr bwMode="auto">
              <a:xfrm>
                <a:off x="3300" y="862"/>
                <a:ext cx="203" cy="284"/>
                <a:chOff x="1514" y="1106"/>
                <a:chExt cx="367" cy="605"/>
              </a:xfrm>
            </p:grpSpPr>
            <p:sp>
              <p:nvSpPr>
                <p:cNvPr id="30262" name="AutoShape 412"/>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64" name="Rectangle 414"/>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65" name="Freeform 415"/>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267" name="Rectangle 417"/>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68" name="Rectangle 418"/>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69" name="Rectangle 419"/>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70" name="Rectangle 420"/>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71" name="Rectangle 421"/>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30087" name="Group 422"/>
              <p:cNvGrpSpPr>
                <a:grpSpLocks noChangeAspect="1"/>
              </p:cNvGrpSpPr>
              <p:nvPr/>
            </p:nvGrpSpPr>
            <p:grpSpPr bwMode="auto">
              <a:xfrm>
                <a:off x="3572" y="862"/>
                <a:ext cx="203" cy="284"/>
                <a:chOff x="1514" y="1106"/>
                <a:chExt cx="367" cy="605"/>
              </a:xfrm>
            </p:grpSpPr>
            <p:sp>
              <p:nvSpPr>
                <p:cNvPr id="30252" name="AutoShape 423"/>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54" name="Rectangle 425"/>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55" name="Freeform 426"/>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257" name="Rectangle 428"/>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58" name="Rectangle 429"/>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59" name="Rectangle 430"/>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60" name="Rectangle 431"/>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261" name="Rectangle 432"/>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30088" name="Group 433"/>
              <p:cNvGrpSpPr>
                <a:grpSpLocks noChangeAspect="1"/>
              </p:cNvGrpSpPr>
              <p:nvPr/>
            </p:nvGrpSpPr>
            <p:grpSpPr bwMode="auto">
              <a:xfrm>
                <a:off x="2938" y="1668"/>
                <a:ext cx="318" cy="192"/>
                <a:chOff x="240" y="1134"/>
                <a:chExt cx="1335" cy="798"/>
              </a:xfrm>
            </p:grpSpPr>
            <p:grpSp>
              <p:nvGrpSpPr>
                <p:cNvPr id="30174" name="Group 434"/>
                <p:cNvGrpSpPr>
                  <a:grpSpLocks noChangeAspect="1"/>
                </p:cNvGrpSpPr>
                <p:nvPr/>
              </p:nvGrpSpPr>
              <p:grpSpPr bwMode="auto">
                <a:xfrm>
                  <a:off x="240" y="1134"/>
                  <a:ext cx="1335" cy="734"/>
                  <a:chOff x="3007" y="2646"/>
                  <a:chExt cx="1335" cy="734"/>
                </a:xfrm>
              </p:grpSpPr>
              <p:sp>
                <p:nvSpPr>
                  <p:cNvPr id="30192" name="Freeform 441"/>
                  <p:cNvSpPr>
                    <a:spLocks noChangeAspect="1"/>
                  </p:cNvSpPr>
                  <p:nvPr/>
                </p:nvSpPr>
                <p:spPr bwMode="auto">
                  <a:xfrm>
                    <a:off x="3069" y="2817"/>
                    <a:ext cx="5" cy="403"/>
                  </a:xfrm>
                  <a:custGeom>
                    <a:avLst/>
                    <a:gdLst>
                      <a:gd name="T0" fmla="*/ 0 w 2"/>
                      <a:gd name="T1" fmla="*/ 1456 h 212"/>
                      <a:gd name="T2" fmla="*/ 0 w 2"/>
                      <a:gd name="T3" fmla="*/ 0 h 212"/>
                      <a:gd name="T4" fmla="*/ 33 w 2"/>
                      <a:gd name="T5" fmla="*/ 15 h 212"/>
                      <a:gd name="T6" fmla="*/ 33 w 2"/>
                      <a:gd name="T7" fmla="*/ 1456 h 212"/>
                      <a:gd name="T8" fmla="*/ 0 w 2"/>
                      <a:gd name="T9" fmla="*/ 1456 h 2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12">
                        <a:moveTo>
                          <a:pt x="0" y="212"/>
                        </a:moveTo>
                        <a:lnTo>
                          <a:pt x="0" y="0"/>
                        </a:lnTo>
                        <a:lnTo>
                          <a:pt x="2" y="2"/>
                        </a:lnTo>
                        <a:lnTo>
                          <a:pt x="2" y="212"/>
                        </a:lnTo>
                        <a:lnTo>
                          <a:pt x="0" y="212"/>
                        </a:lnTo>
                        <a:close/>
                      </a:path>
                    </a:pathLst>
                  </a:custGeom>
                  <a:solidFill>
                    <a:srgbClr val="0C3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193" name="Rectangle 442"/>
                  <p:cNvSpPr>
                    <a:spLocks noChangeAspect="1" noChangeArrowheads="1"/>
                  </p:cNvSpPr>
                  <p:nvPr/>
                </p:nvSpPr>
                <p:spPr bwMode="auto">
                  <a:xfrm>
                    <a:off x="3972" y="2952"/>
                    <a:ext cx="5" cy="4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194" name="Rectangle 443"/>
                  <p:cNvSpPr>
                    <a:spLocks noChangeAspect="1" noChangeArrowheads="1"/>
                  </p:cNvSpPr>
                  <p:nvPr/>
                </p:nvSpPr>
                <p:spPr bwMode="auto">
                  <a:xfrm>
                    <a:off x="3977" y="2952"/>
                    <a:ext cx="9" cy="415"/>
                  </a:xfrm>
                  <a:prstGeom prst="rect">
                    <a:avLst/>
                  </a:prstGeom>
                  <a:solidFill>
                    <a:srgbClr val="0C3C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30200" name="Group 449"/>
                  <p:cNvGrpSpPr>
                    <a:grpSpLocks noChangeAspect="1"/>
                  </p:cNvGrpSpPr>
                  <p:nvPr/>
                </p:nvGrpSpPr>
                <p:grpSpPr bwMode="auto">
                  <a:xfrm>
                    <a:off x="3242" y="2890"/>
                    <a:ext cx="670" cy="136"/>
                    <a:chOff x="3242" y="2890"/>
                    <a:chExt cx="670" cy="136"/>
                  </a:xfrm>
                </p:grpSpPr>
                <p:grpSp>
                  <p:nvGrpSpPr>
                    <p:cNvPr id="30240" name="Group 450"/>
                    <p:cNvGrpSpPr>
                      <a:grpSpLocks noChangeAspect="1"/>
                    </p:cNvGrpSpPr>
                    <p:nvPr/>
                  </p:nvGrpSpPr>
                  <p:grpSpPr bwMode="auto">
                    <a:xfrm>
                      <a:off x="3242" y="2890"/>
                      <a:ext cx="35" cy="33"/>
                      <a:chOff x="3903" y="3708"/>
                      <a:chExt cx="35" cy="33"/>
                    </a:xfrm>
                  </p:grpSpPr>
                </p:grpSp>
                <p:grpSp>
                  <p:nvGrpSpPr>
                    <p:cNvPr id="30241" name="Group 453"/>
                    <p:cNvGrpSpPr>
                      <a:grpSpLocks noChangeAspect="1"/>
                    </p:cNvGrpSpPr>
                    <p:nvPr/>
                  </p:nvGrpSpPr>
                  <p:grpSpPr bwMode="auto">
                    <a:xfrm>
                      <a:off x="3436" y="2922"/>
                      <a:ext cx="35" cy="33"/>
                      <a:chOff x="3903" y="3708"/>
                      <a:chExt cx="35" cy="33"/>
                    </a:xfrm>
                  </p:grpSpPr>
                </p:grpSp>
                <p:grpSp>
                  <p:nvGrpSpPr>
                    <p:cNvPr id="30242" name="Group 456"/>
                    <p:cNvGrpSpPr>
                      <a:grpSpLocks noChangeAspect="1"/>
                    </p:cNvGrpSpPr>
                    <p:nvPr/>
                  </p:nvGrpSpPr>
                  <p:grpSpPr bwMode="auto">
                    <a:xfrm>
                      <a:off x="3649" y="2956"/>
                      <a:ext cx="35" cy="33"/>
                      <a:chOff x="3903" y="3708"/>
                      <a:chExt cx="35" cy="33"/>
                    </a:xfrm>
                  </p:grpSpPr>
                </p:grpSp>
                <p:grpSp>
                  <p:nvGrpSpPr>
                    <p:cNvPr id="30243" name="Group 459"/>
                    <p:cNvGrpSpPr>
                      <a:grpSpLocks noChangeAspect="1"/>
                    </p:cNvGrpSpPr>
                    <p:nvPr/>
                  </p:nvGrpSpPr>
                  <p:grpSpPr bwMode="auto">
                    <a:xfrm>
                      <a:off x="3877" y="2993"/>
                      <a:ext cx="35" cy="33"/>
                      <a:chOff x="3903" y="3708"/>
                      <a:chExt cx="35" cy="33"/>
                    </a:xfrm>
                  </p:grpSpPr>
                </p:grpSp>
              </p:grpSp>
              <p:grpSp>
                <p:nvGrpSpPr>
                  <p:cNvPr id="30201" name="Group 462"/>
                  <p:cNvGrpSpPr>
                    <a:grpSpLocks noChangeAspect="1"/>
                  </p:cNvGrpSpPr>
                  <p:nvPr/>
                </p:nvGrpSpPr>
                <p:grpSpPr bwMode="auto">
                  <a:xfrm>
                    <a:off x="3239" y="2979"/>
                    <a:ext cx="670" cy="136"/>
                    <a:chOff x="3242" y="2890"/>
                    <a:chExt cx="670" cy="136"/>
                  </a:xfrm>
                </p:grpSpPr>
                <p:grpSp>
                  <p:nvGrpSpPr>
                    <p:cNvPr id="30228" name="Group 463"/>
                    <p:cNvGrpSpPr>
                      <a:grpSpLocks noChangeAspect="1"/>
                    </p:cNvGrpSpPr>
                    <p:nvPr/>
                  </p:nvGrpSpPr>
                  <p:grpSpPr bwMode="auto">
                    <a:xfrm>
                      <a:off x="3242" y="2890"/>
                      <a:ext cx="35" cy="33"/>
                      <a:chOff x="3903" y="3708"/>
                      <a:chExt cx="35" cy="33"/>
                    </a:xfrm>
                  </p:grpSpPr>
                </p:grpSp>
                <p:grpSp>
                  <p:nvGrpSpPr>
                    <p:cNvPr id="30229" name="Group 466"/>
                    <p:cNvGrpSpPr>
                      <a:grpSpLocks noChangeAspect="1"/>
                    </p:cNvGrpSpPr>
                    <p:nvPr/>
                  </p:nvGrpSpPr>
                  <p:grpSpPr bwMode="auto">
                    <a:xfrm>
                      <a:off x="3436" y="2922"/>
                      <a:ext cx="35" cy="33"/>
                      <a:chOff x="3903" y="3708"/>
                      <a:chExt cx="35" cy="33"/>
                    </a:xfrm>
                  </p:grpSpPr>
                </p:grpSp>
                <p:grpSp>
                  <p:nvGrpSpPr>
                    <p:cNvPr id="30230" name="Group 469"/>
                    <p:cNvGrpSpPr>
                      <a:grpSpLocks noChangeAspect="1"/>
                    </p:cNvGrpSpPr>
                    <p:nvPr/>
                  </p:nvGrpSpPr>
                  <p:grpSpPr bwMode="auto">
                    <a:xfrm>
                      <a:off x="3649" y="2956"/>
                      <a:ext cx="35" cy="33"/>
                      <a:chOff x="3903" y="3708"/>
                      <a:chExt cx="35" cy="33"/>
                    </a:xfrm>
                  </p:grpSpPr>
                </p:grpSp>
                <p:grpSp>
                  <p:nvGrpSpPr>
                    <p:cNvPr id="30231" name="Group 472"/>
                    <p:cNvGrpSpPr>
                      <a:grpSpLocks noChangeAspect="1"/>
                    </p:cNvGrpSpPr>
                    <p:nvPr/>
                  </p:nvGrpSpPr>
                  <p:grpSpPr bwMode="auto">
                    <a:xfrm>
                      <a:off x="3877" y="2993"/>
                      <a:ext cx="35" cy="33"/>
                      <a:chOff x="3903" y="3708"/>
                      <a:chExt cx="35" cy="33"/>
                    </a:xfrm>
                  </p:grpSpPr>
                </p:grpSp>
              </p:grpSp>
              <p:grpSp>
                <p:nvGrpSpPr>
                  <p:cNvPr id="30202" name="Group 475"/>
                  <p:cNvGrpSpPr>
                    <a:grpSpLocks noChangeAspect="1"/>
                  </p:cNvGrpSpPr>
                  <p:nvPr/>
                </p:nvGrpSpPr>
                <p:grpSpPr bwMode="auto">
                  <a:xfrm>
                    <a:off x="3235" y="3075"/>
                    <a:ext cx="670" cy="136"/>
                    <a:chOff x="3242" y="2890"/>
                    <a:chExt cx="670" cy="136"/>
                  </a:xfrm>
                </p:grpSpPr>
                <p:grpSp>
                  <p:nvGrpSpPr>
                    <p:cNvPr id="30216" name="Group 476"/>
                    <p:cNvGrpSpPr>
                      <a:grpSpLocks noChangeAspect="1"/>
                    </p:cNvGrpSpPr>
                    <p:nvPr/>
                  </p:nvGrpSpPr>
                  <p:grpSpPr bwMode="auto">
                    <a:xfrm>
                      <a:off x="3242" y="2890"/>
                      <a:ext cx="35" cy="33"/>
                      <a:chOff x="3903" y="3708"/>
                      <a:chExt cx="35" cy="33"/>
                    </a:xfrm>
                  </p:grpSpPr>
                </p:grpSp>
                <p:grpSp>
                  <p:nvGrpSpPr>
                    <p:cNvPr id="30217" name="Group 479"/>
                    <p:cNvGrpSpPr>
                      <a:grpSpLocks noChangeAspect="1"/>
                    </p:cNvGrpSpPr>
                    <p:nvPr/>
                  </p:nvGrpSpPr>
                  <p:grpSpPr bwMode="auto">
                    <a:xfrm>
                      <a:off x="3436" y="2922"/>
                      <a:ext cx="35" cy="33"/>
                      <a:chOff x="3903" y="3708"/>
                      <a:chExt cx="35" cy="33"/>
                    </a:xfrm>
                  </p:grpSpPr>
                </p:grpSp>
                <p:grpSp>
                  <p:nvGrpSpPr>
                    <p:cNvPr id="30218" name="Group 482"/>
                    <p:cNvGrpSpPr>
                      <a:grpSpLocks noChangeAspect="1"/>
                    </p:cNvGrpSpPr>
                    <p:nvPr/>
                  </p:nvGrpSpPr>
                  <p:grpSpPr bwMode="auto">
                    <a:xfrm>
                      <a:off x="3649" y="2956"/>
                      <a:ext cx="35" cy="33"/>
                      <a:chOff x="3903" y="3708"/>
                      <a:chExt cx="35" cy="33"/>
                    </a:xfrm>
                  </p:grpSpPr>
                </p:grpSp>
                <p:grpSp>
                  <p:nvGrpSpPr>
                    <p:cNvPr id="30219" name="Group 485"/>
                    <p:cNvGrpSpPr>
                      <a:grpSpLocks noChangeAspect="1"/>
                    </p:cNvGrpSpPr>
                    <p:nvPr/>
                  </p:nvGrpSpPr>
                  <p:grpSpPr bwMode="auto">
                    <a:xfrm>
                      <a:off x="3877" y="2993"/>
                      <a:ext cx="35" cy="33"/>
                      <a:chOff x="3903" y="3708"/>
                      <a:chExt cx="35" cy="33"/>
                    </a:xfrm>
                  </p:grpSpPr>
                </p:grpSp>
              </p:grpSp>
              <p:grpSp>
                <p:nvGrpSpPr>
                  <p:cNvPr id="30203" name="Group 488"/>
                  <p:cNvGrpSpPr>
                    <a:grpSpLocks noChangeAspect="1"/>
                  </p:cNvGrpSpPr>
                  <p:nvPr/>
                </p:nvGrpSpPr>
                <p:grpSpPr bwMode="auto">
                  <a:xfrm>
                    <a:off x="3231" y="3179"/>
                    <a:ext cx="670" cy="136"/>
                    <a:chOff x="3242" y="2890"/>
                    <a:chExt cx="670" cy="136"/>
                  </a:xfrm>
                </p:grpSpPr>
                <p:grpSp>
                  <p:nvGrpSpPr>
                    <p:cNvPr id="30204" name="Group 489"/>
                    <p:cNvGrpSpPr>
                      <a:grpSpLocks noChangeAspect="1"/>
                    </p:cNvGrpSpPr>
                    <p:nvPr/>
                  </p:nvGrpSpPr>
                  <p:grpSpPr bwMode="auto">
                    <a:xfrm>
                      <a:off x="3242" y="2890"/>
                      <a:ext cx="35" cy="33"/>
                      <a:chOff x="3903" y="3708"/>
                      <a:chExt cx="35" cy="33"/>
                    </a:xfrm>
                  </p:grpSpPr>
                </p:grpSp>
                <p:grpSp>
                  <p:nvGrpSpPr>
                    <p:cNvPr id="30205" name="Group 492"/>
                    <p:cNvGrpSpPr>
                      <a:grpSpLocks noChangeAspect="1"/>
                    </p:cNvGrpSpPr>
                    <p:nvPr/>
                  </p:nvGrpSpPr>
                  <p:grpSpPr bwMode="auto">
                    <a:xfrm>
                      <a:off x="3436" y="2922"/>
                      <a:ext cx="35" cy="33"/>
                      <a:chOff x="3903" y="3708"/>
                      <a:chExt cx="35" cy="33"/>
                    </a:xfrm>
                  </p:grpSpPr>
                </p:grpSp>
                <p:grpSp>
                  <p:nvGrpSpPr>
                    <p:cNvPr id="30206" name="Group 495"/>
                    <p:cNvGrpSpPr>
                      <a:grpSpLocks noChangeAspect="1"/>
                    </p:cNvGrpSpPr>
                    <p:nvPr/>
                  </p:nvGrpSpPr>
                  <p:grpSpPr bwMode="auto">
                    <a:xfrm>
                      <a:off x="3649" y="2956"/>
                      <a:ext cx="35" cy="33"/>
                      <a:chOff x="3903" y="3708"/>
                      <a:chExt cx="35" cy="33"/>
                    </a:xfrm>
                  </p:grpSpPr>
                </p:grpSp>
                <p:grpSp>
                  <p:nvGrpSpPr>
                    <p:cNvPr id="30207" name="Group 498"/>
                    <p:cNvGrpSpPr>
                      <a:grpSpLocks noChangeAspect="1"/>
                    </p:cNvGrpSpPr>
                    <p:nvPr/>
                  </p:nvGrpSpPr>
                  <p:grpSpPr bwMode="auto">
                    <a:xfrm>
                      <a:off x="3877" y="2993"/>
                      <a:ext cx="35" cy="33"/>
                      <a:chOff x="3903" y="3708"/>
                      <a:chExt cx="35" cy="33"/>
                    </a:xfrm>
                  </p:grpSpPr>
                </p:grpSp>
              </p:grpSp>
            </p:grpSp>
            <p:grpSp>
              <p:nvGrpSpPr>
                <p:cNvPr id="30175" name="Group 501"/>
                <p:cNvGrpSpPr>
                  <a:grpSpLocks noChangeAspect="1"/>
                </p:cNvGrpSpPr>
                <p:nvPr/>
              </p:nvGrpSpPr>
              <p:grpSpPr bwMode="auto">
                <a:xfrm>
                  <a:off x="1110" y="1602"/>
                  <a:ext cx="269" cy="330"/>
                  <a:chOff x="2362" y="3405"/>
                  <a:chExt cx="352" cy="432"/>
                </a:xfrm>
              </p:grpSpPr>
              <p:sp>
                <p:nvSpPr>
                  <p:cNvPr id="30184" name="Oval 510"/>
                  <p:cNvSpPr>
                    <a:spLocks noChangeAspect="1" noChangeArrowheads="1"/>
                  </p:cNvSpPr>
                  <p:nvPr/>
                </p:nvSpPr>
                <p:spPr bwMode="auto">
                  <a:xfrm>
                    <a:off x="2364" y="3405"/>
                    <a:ext cx="350" cy="117"/>
                  </a:xfrm>
                  <a:prstGeom prst="ellipse">
                    <a:avLst/>
                  </a:prstGeom>
                  <a:solidFill>
                    <a:srgbClr val="8BA6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grpSp>
            <p:nvGrpSpPr>
              <p:cNvPr id="30089" name="Group 512"/>
              <p:cNvGrpSpPr>
                <a:grpSpLocks noChangeAspect="1"/>
              </p:cNvGrpSpPr>
              <p:nvPr/>
            </p:nvGrpSpPr>
            <p:grpSpPr bwMode="auto">
              <a:xfrm>
                <a:off x="3300" y="1668"/>
                <a:ext cx="318" cy="192"/>
                <a:chOff x="240" y="1134"/>
                <a:chExt cx="1335" cy="798"/>
              </a:xfrm>
            </p:grpSpPr>
            <p:grpSp>
              <p:nvGrpSpPr>
                <p:cNvPr id="30096" name="Group 513"/>
                <p:cNvGrpSpPr>
                  <a:grpSpLocks noChangeAspect="1"/>
                </p:cNvGrpSpPr>
                <p:nvPr/>
              </p:nvGrpSpPr>
              <p:grpSpPr bwMode="auto">
                <a:xfrm>
                  <a:off x="240" y="1134"/>
                  <a:ext cx="1335" cy="734"/>
                  <a:chOff x="3007" y="2646"/>
                  <a:chExt cx="1335" cy="734"/>
                </a:xfrm>
              </p:grpSpPr>
              <p:sp>
                <p:nvSpPr>
                  <p:cNvPr id="30114" name="Freeform 520"/>
                  <p:cNvSpPr>
                    <a:spLocks noChangeAspect="1"/>
                  </p:cNvSpPr>
                  <p:nvPr/>
                </p:nvSpPr>
                <p:spPr bwMode="auto">
                  <a:xfrm>
                    <a:off x="3069" y="2817"/>
                    <a:ext cx="5" cy="403"/>
                  </a:xfrm>
                  <a:custGeom>
                    <a:avLst/>
                    <a:gdLst>
                      <a:gd name="T0" fmla="*/ 0 w 2"/>
                      <a:gd name="T1" fmla="*/ 1456 h 212"/>
                      <a:gd name="T2" fmla="*/ 0 w 2"/>
                      <a:gd name="T3" fmla="*/ 0 h 212"/>
                      <a:gd name="T4" fmla="*/ 33 w 2"/>
                      <a:gd name="T5" fmla="*/ 15 h 212"/>
                      <a:gd name="T6" fmla="*/ 33 w 2"/>
                      <a:gd name="T7" fmla="*/ 1456 h 212"/>
                      <a:gd name="T8" fmla="*/ 0 w 2"/>
                      <a:gd name="T9" fmla="*/ 1456 h 2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12">
                        <a:moveTo>
                          <a:pt x="0" y="212"/>
                        </a:moveTo>
                        <a:lnTo>
                          <a:pt x="0" y="0"/>
                        </a:lnTo>
                        <a:lnTo>
                          <a:pt x="2" y="2"/>
                        </a:lnTo>
                        <a:lnTo>
                          <a:pt x="2" y="212"/>
                        </a:lnTo>
                        <a:lnTo>
                          <a:pt x="0" y="212"/>
                        </a:lnTo>
                        <a:close/>
                      </a:path>
                    </a:pathLst>
                  </a:custGeom>
                  <a:solidFill>
                    <a:srgbClr val="0C3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115" name="Rectangle 521"/>
                  <p:cNvSpPr>
                    <a:spLocks noChangeAspect="1" noChangeArrowheads="1"/>
                  </p:cNvSpPr>
                  <p:nvPr/>
                </p:nvSpPr>
                <p:spPr bwMode="auto">
                  <a:xfrm>
                    <a:off x="3972" y="2952"/>
                    <a:ext cx="5" cy="4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116" name="Rectangle 522"/>
                  <p:cNvSpPr>
                    <a:spLocks noChangeAspect="1" noChangeArrowheads="1"/>
                  </p:cNvSpPr>
                  <p:nvPr/>
                </p:nvSpPr>
                <p:spPr bwMode="auto">
                  <a:xfrm>
                    <a:off x="3977" y="2952"/>
                    <a:ext cx="9" cy="415"/>
                  </a:xfrm>
                  <a:prstGeom prst="rect">
                    <a:avLst/>
                  </a:prstGeom>
                  <a:solidFill>
                    <a:srgbClr val="0C3C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30122" name="Group 528"/>
                  <p:cNvGrpSpPr>
                    <a:grpSpLocks noChangeAspect="1"/>
                  </p:cNvGrpSpPr>
                  <p:nvPr/>
                </p:nvGrpSpPr>
                <p:grpSpPr bwMode="auto">
                  <a:xfrm>
                    <a:off x="3242" y="2890"/>
                    <a:ext cx="670" cy="136"/>
                    <a:chOff x="3242" y="2890"/>
                    <a:chExt cx="670" cy="136"/>
                  </a:xfrm>
                </p:grpSpPr>
                <p:grpSp>
                  <p:nvGrpSpPr>
                    <p:cNvPr id="30162" name="Group 529"/>
                    <p:cNvGrpSpPr>
                      <a:grpSpLocks noChangeAspect="1"/>
                    </p:cNvGrpSpPr>
                    <p:nvPr/>
                  </p:nvGrpSpPr>
                  <p:grpSpPr bwMode="auto">
                    <a:xfrm>
                      <a:off x="3242" y="2890"/>
                      <a:ext cx="35" cy="33"/>
                      <a:chOff x="3903" y="3708"/>
                      <a:chExt cx="35" cy="33"/>
                    </a:xfrm>
                  </p:grpSpPr>
                </p:grpSp>
                <p:grpSp>
                  <p:nvGrpSpPr>
                    <p:cNvPr id="30163" name="Group 532"/>
                    <p:cNvGrpSpPr>
                      <a:grpSpLocks noChangeAspect="1"/>
                    </p:cNvGrpSpPr>
                    <p:nvPr/>
                  </p:nvGrpSpPr>
                  <p:grpSpPr bwMode="auto">
                    <a:xfrm>
                      <a:off x="3436" y="2922"/>
                      <a:ext cx="35" cy="33"/>
                      <a:chOff x="3903" y="3708"/>
                      <a:chExt cx="35" cy="33"/>
                    </a:xfrm>
                  </p:grpSpPr>
                </p:grpSp>
                <p:grpSp>
                  <p:nvGrpSpPr>
                    <p:cNvPr id="30164" name="Group 535"/>
                    <p:cNvGrpSpPr>
                      <a:grpSpLocks noChangeAspect="1"/>
                    </p:cNvGrpSpPr>
                    <p:nvPr/>
                  </p:nvGrpSpPr>
                  <p:grpSpPr bwMode="auto">
                    <a:xfrm>
                      <a:off x="3649" y="2956"/>
                      <a:ext cx="35" cy="33"/>
                      <a:chOff x="3903" y="3708"/>
                      <a:chExt cx="35" cy="33"/>
                    </a:xfrm>
                  </p:grpSpPr>
                </p:grpSp>
                <p:grpSp>
                  <p:nvGrpSpPr>
                    <p:cNvPr id="30165" name="Group 538"/>
                    <p:cNvGrpSpPr>
                      <a:grpSpLocks noChangeAspect="1"/>
                    </p:cNvGrpSpPr>
                    <p:nvPr/>
                  </p:nvGrpSpPr>
                  <p:grpSpPr bwMode="auto">
                    <a:xfrm>
                      <a:off x="3877" y="2993"/>
                      <a:ext cx="35" cy="33"/>
                      <a:chOff x="3903" y="3708"/>
                      <a:chExt cx="35" cy="33"/>
                    </a:xfrm>
                  </p:grpSpPr>
                </p:grpSp>
              </p:grpSp>
              <p:grpSp>
                <p:nvGrpSpPr>
                  <p:cNvPr id="30123" name="Group 541"/>
                  <p:cNvGrpSpPr>
                    <a:grpSpLocks noChangeAspect="1"/>
                  </p:cNvGrpSpPr>
                  <p:nvPr/>
                </p:nvGrpSpPr>
                <p:grpSpPr bwMode="auto">
                  <a:xfrm>
                    <a:off x="3239" y="2979"/>
                    <a:ext cx="670" cy="136"/>
                    <a:chOff x="3242" y="2890"/>
                    <a:chExt cx="670" cy="136"/>
                  </a:xfrm>
                </p:grpSpPr>
                <p:grpSp>
                  <p:nvGrpSpPr>
                    <p:cNvPr id="30150" name="Group 542"/>
                    <p:cNvGrpSpPr>
                      <a:grpSpLocks noChangeAspect="1"/>
                    </p:cNvGrpSpPr>
                    <p:nvPr/>
                  </p:nvGrpSpPr>
                  <p:grpSpPr bwMode="auto">
                    <a:xfrm>
                      <a:off x="3242" y="2890"/>
                      <a:ext cx="35" cy="33"/>
                      <a:chOff x="3903" y="3708"/>
                      <a:chExt cx="35" cy="33"/>
                    </a:xfrm>
                  </p:grpSpPr>
                </p:grpSp>
                <p:grpSp>
                  <p:nvGrpSpPr>
                    <p:cNvPr id="30151" name="Group 545"/>
                    <p:cNvGrpSpPr>
                      <a:grpSpLocks noChangeAspect="1"/>
                    </p:cNvGrpSpPr>
                    <p:nvPr/>
                  </p:nvGrpSpPr>
                  <p:grpSpPr bwMode="auto">
                    <a:xfrm>
                      <a:off x="3436" y="2922"/>
                      <a:ext cx="35" cy="33"/>
                      <a:chOff x="3903" y="3708"/>
                      <a:chExt cx="35" cy="33"/>
                    </a:xfrm>
                  </p:grpSpPr>
                </p:grpSp>
                <p:grpSp>
                  <p:nvGrpSpPr>
                    <p:cNvPr id="30152" name="Group 548"/>
                    <p:cNvGrpSpPr>
                      <a:grpSpLocks noChangeAspect="1"/>
                    </p:cNvGrpSpPr>
                    <p:nvPr/>
                  </p:nvGrpSpPr>
                  <p:grpSpPr bwMode="auto">
                    <a:xfrm>
                      <a:off x="3649" y="2956"/>
                      <a:ext cx="35" cy="33"/>
                      <a:chOff x="3903" y="3708"/>
                      <a:chExt cx="35" cy="33"/>
                    </a:xfrm>
                  </p:grpSpPr>
                </p:grpSp>
                <p:grpSp>
                  <p:nvGrpSpPr>
                    <p:cNvPr id="30153" name="Group 551"/>
                    <p:cNvGrpSpPr>
                      <a:grpSpLocks noChangeAspect="1"/>
                    </p:cNvGrpSpPr>
                    <p:nvPr/>
                  </p:nvGrpSpPr>
                  <p:grpSpPr bwMode="auto">
                    <a:xfrm>
                      <a:off x="3877" y="2993"/>
                      <a:ext cx="35" cy="33"/>
                      <a:chOff x="3903" y="3708"/>
                      <a:chExt cx="35" cy="33"/>
                    </a:xfrm>
                  </p:grpSpPr>
                </p:grpSp>
              </p:grpSp>
              <p:grpSp>
                <p:nvGrpSpPr>
                  <p:cNvPr id="30124" name="Group 554"/>
                  <p:cNvGrpSpPr>
                    <a:grpSpLocks noChangeAspect="1"/>
                  </p:cNvGrpSpPr>
                  <p:nvPr/>
                </p:nvGrpSpPr>
                <p:grpSpPr bwMode="auto">
                  <a:xfrm>
                    <a:off x="3235" y="3075"/>
                    <a:ext cx="670" cy="136"/>
                    <a:chOff x="3242" y="2890"/>
                    <a:chExt cx="670" cy="136"/>
                  </a:xfrm>
                </p:grpSpPr>
                <p:grpSp>
                  <p:nvGrpSpPr>
                    <p:cNvPr id="30138" name="Group 555"/>
                    <p:cNvGrpSpPr>
                      <a:grpSpLocks noChangeAspect="1"/>
                    </p:cNvGrpSpPr>
                    <p:nvPr/>
                  </p:nvGrpSpPr>
                  <p:grpSpPr bwMode="auto">
                    <a:xfrm>
                      <a:off x="3242" y="2890"/>
                      <a:ext cx="35" cy="33"/>
                      <a:chOff x="3903" y="3708"/>
                      <a:chExt cx="35" cy="33"/>
                    </a:xfrm>
                  </p:grpSpPr>
                </p:grpSp>
                <p:grpSp>
                  <p:nvGrpSpPr>
                    <p:cNvPr id="30139" name="Group 558"/>
                    <p:cNvGrpSpPr>
                      <a:grpSpLocks noChangeAspect="1"/>
                    </p:cNvGrpSpPr>
                    <p:nvPr/>
                  </p:nvGrpSpPr>
                  <p:grpSpPr bwMode="auto">
                    <a:xfrm>
                      <a:off x="3436" y="2922"/>
                      <a:ext cx="35" cy="33"/>
                      <a:chOff x="3903" y="3708"/>
                      <a:chExt cx="35" cy="33"/>
                    </a:xfrm>
                  </p:grpSpPr>
                </p:grpSp>
                <p:grpSp>
                  <p:nvGrpSpPr>
                    <p:cNvPr id="30140" name="Group 561"/>
                    <p:cNvGrpSpPr>
                      <a:grpSpLocks noChangeAspect="1"/>
                    </p:cNvGrpSpPr>
                    <p:nvPr/>
                  </p:nvGrpSpPr>
                  <p:grpSpPr bwMode="auto">
                    <a:xfrm>
                      <a:off x="3649" y="2956"/>
                      <a:ext cx="35" cy="33"/>
                      <a:chOff x="3903" y="3708"/>
                      <a:chExt cx="35" cy="33"/>
                    </a:xfrm>
                  </p:grpSpPr>
                </p:grpSp>
                <p:grpSp>
                  <p:nvGrpSpPr>
                    <p:cNvPr id="30141" name="Group 564"/>
                    <p:cNvGrpSpPr>
                      <a:grpSpLocks noChangeAspect="1"/>
                    </p:cNvGrpSpPr>
                    <p:nvPr/>
                  </p:nvGrpSpPr>
                  <p:grpSpPr bwMode="auto">
                    <a:xfrm>
                      <a:off x="3877" y="2993"/>
                      <a:ext cx="35" cy="33"/>
                      <a:chOff x="3903" y="3708"/>
                      <a:chExt cx="35" cy="33"/>
                    </a:xfrm>
                  </p:grpSpPr>
                </p:grpSp>
              </p:grpSp>
              <p:grpSp>
                <p:nvGrpSpPr>
                  <p:cNvPr id="30125" name="Group 567"/>
                  <p:cNvGrpSpPr>
                    <a:grpSpLocks noChangeAspect="1"/>
                  </p:cNvGrpSpPr>
                  <p:nvPr/>
                </p:nvGrpSpPr>
                <p:grpSpPr bwMode="auto">
                  <a:xfrm>
                    <a:off x="3231" y="3179"/>
                    <a:ext cx="670" cy="136"/>
                    <a:chOff x="3242" y="2890"/>
                    <a:chExt cx="670" cy="136"/>
                  </a:xfrm>
                </p:grpSpPr>
                <p:grpSp>
                  <p:nvGrpSpPr>
                    <p:cNvPr id="30126" name="Group 568"/>
                    <p:cNvGrpSpPr>
                      <a:grpSpLocks noChangeAspect="1"/>
                    </p:cNvGrpSpPr>
                    <p:nvPr/>
                  </p:nvGrpSpPr>
                  <p:grpSpPr bwMode="auto">
                    <a:xfrm>
                      <a:off x="3242" y="2890"/>
                      <a:ext cx="35" cy="33"/>
                      <a:chOff x="3903" y="3708"/>
                      <a:chExt cx="35" cy="33"/>
                    </a:xfrm>
                  </p:grpSpPr>
                </p:grpSp>
                <p:grpSp>
                  <p:nvGrpSpPr>
                    <p:cNvPr id="30127" name="Group 571"/>
                    <p:cNvGrpSpPr>
                      <a:grpSpLocks noChangeAspect="1"/>
                    </p:cNvGrpSpPr>
                    <p:nvPr/>
                  </p:nvGrpSpPr>
                  <p:grpSpPr bwMode="auto">
                    <a:xfrm>
                      <a:off x="3436" y="2922"/>
                      <a:ext cx="35" cy="33"/>
                      <a:chOff x="3903" y="3708"/>
                      <a:chExt cx="35" cy="33"/>
                    </a:xfrm>
                  </p:grpSpPr>
                </p:grpSp>
                <p:grpSp>
                  <p:nvGrpSpPr>
                    <p:cNvPr id="30128" name="Group 574"/>
                    <p:cNvGrpSpPr>
                      <a:grpSpLocks noChangeAspect="1"/>
                    </p:cNvGrpSpPr>
                    <p:nvPr/>
                  </p:nvGrpSpPr>
                  <p:grpSpPr bwMode="auto">
                    <a:xfrm>
                      <a:off x="3649" y="2956"/>
                      <a:ext cx="35" cy="33"/>
                      <a:chOff x="3903" y="3708"/>
                      <a:chExt cx="35" cy="33"/>
                    </a:xfrm>
                  </p:grpSpPr>
                </p:grpSp>
                <p:grpSp>
                  <p:nvGrpSpPr>
                    <p:cNvPr id="30129" name="Group 577"/>
                    <p:cNvGrpSpPr>
                      <a:grpSpLocks noChangeAspect="1"/>
                    </p:cNvGrpSpPr>
                    <p:nvPr/>
                  </p:nvGrpSpPr>
                  <p:grpSpPr bwMode="auto">
                    <a:xfrm>
                      <a:off x="3877" y="2993"/>
                      <a:ext cx="35" cy="33"/>
                      <a:chOff x="3903" y="3708"/>
                      <a:chExt cx="35" cy="33"/>
                    </a:xfrm>
                  </p:grpSpPr>
                </p:grpSp>
              </p:grpSp>
            </p:grpSp>
            <p:grpSp>
              <p:nvGrpSpPr>
                <p:cNvPr id="30097" name="Group 580"/>
                <p:cNvGrpSpPr>
                  <a:grpSpLocks noChangeAspect="1"/>
                </p:cNvGrpSpPr>
                <p:nvPr/>
              </p:nvGrpSpPr>
              <p:grpSpPr bwMode="auto">
                <a:xfrm>
                  <a:off x="1110" y="1602"/>
                  <a:ext cx="269" cy="330"/>
                  <a:chOff x="2362" y="3405"/>
                  <a:chExt cx="352" cy="432"/>
                </a:xfrm>
              </p:grpSpPr>
              <p:sp>
                <p:nvSpPr>
                  <p:cNvPr id="30106" name="Oval 589"/>
                  <p:cNvSpPr>
                    <a:spLocks noChangeAspect="1" noChangeArrowheads="1"/>
                  </p:cNvSpPr>
                  <p:nvPr/>
                </p:nvSpPr>
                <p:spPr bwMode="auto">
                  <a:xfrm>
                    <a:off x="2364" y="3405"/>
                    <a:ext cx="350" cy="117"/>
                  </a:xfrm>
                  <a:prstGeom prst="ellipse">
                    <a:avLst/>
                  </a:prstGeom>
                  <a:solidFill>
                    <a:srgbClr val="8BA6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sp>
            <p:nvSpPr>
              <p:cNvPr id="30090" name="Oval 591"/>
              <p:cNvSpPr>
                <a:spLocks noChangeArrowheads="1"/>
              </p:cNvSpPr>
              <p:nvPr/>
            </p:nvSpPr>
            <p:spPr bwMode="auto">
              <a:xfrm>
                <a:off x="2529" y="1207"/>
                <a:ext cx="1452" cy="231"/>
              </a:xfrm>
              <a:prstGeom prst="ellipse">
                <a:avLst/>
              </a:prstGeom>
              <a:noFill/>
              <a:ln w="19050" algn="ctr">
                <a:solidFill>
                  <a:srgbClr val="008000"/>
                </a:solidFill>
                <a:round/>
                <a:headEnd/>
                <a:tailEnd/>
              </a:ln>
              <a:effectLst/>
              <a:extLst>
                <a:ext uri="{909E8E84-426E-40DD-AFC4-6F175D3DCCD1}">
                  <a14:hiddenFill xmlns:a14="http://schemas.microsoft.com/office/drawing/2010/main">
                    <a:solidFill>
                      <a:srgbClr val="01BC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30091" name="Text Box 592"/>
              <p:cNvSpPr txBox="1">
                <a:spLocks noChangeArrowheads="1"/>
              </p:cNvSpPr>
              <p:nvPr/>
            </p:nvSpPr>
            <p:spPr bwMode="auto">
              <a:xfrm>
                <a:off x="3028" y="1225"/>
                <a:ext cx="334" cy="236"/>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spAutoFit/>
              </a:bodyPr>
              <a:lstStyle>
                <a:lvl1pPr defTabSz="877888" eaLnBrk="0" hangingPunct="0">
                  <a:defRPr sz="1200" b="1">
                    <a:solidFill>
                      <a:schemeClr val="tx1"/>
                    </a:solidFill>
                    <a:latin typeface="微软雅黑" pitchFamily="34" charset="-122"/>
                    <a:ea typeface="微软雅黑" pitchFamily="34" charset="-122"/>
                  </a:defRPr>
                </a:lvl1pPr>
                <a:lvl2pPr marL="742950" indent="-285750" defTabSz="877888" eaLnBrk="0" hangingPunct="0">
                  <a:defRPr sz="1200" b="1">
                    <a:solidFill>
                      <a:schemeClr val="tx1"/>
                    </a:solidFill>
                    <a:latin typeface="微软雅黑" pitchFamily="34" charset="-122"/>
                    <a:ea typeface="微软雅黑" pitchFamily="34" charset="-122"/>
                  </a:defRPr>
                </a:lvl2pPr>
                <a:lvl3pPr marL="1143000" indent="-228600" defTabSz="877888" eaLnBrk="0" hangingPunct="0">
                  <a:defRPr sz="1200" b="1">
                    <a:solidFill>
                      <a:schemeClr val="tx1"/>
                    </a:solidFill>
                    <a:latin typeface="微软雅黑" pitchFamily="34" charset="-122"/>
                    <a:ea typeface="微软雅黑" pitchFamily="34" charset="-122"/>
                  </a:defRPr>
                </a:lvl3pPr>
                <a:lvl4pPr marL="1600200" indent="-228600" defTabSz="877888" eaLnBrk="0" hangingPunct="0">
                  <a:defRPr sz="1200" b="1">
                    <a:solidFill>
                      <a:schemeClr val="tx1"/>
                    </a:solidFill>
                    <a:latin typeface="微软雅黑" pitchFamily="34" charset="-122"/>
                    <a:ea typeface="微软雅黑" pitchFamily="34" charset="-122"/>
                  </a:defRPr>
                </a:lvl4pPr>
                <a:lvl5pPr marL="2057400" indent="-228600" defTabSz="877888" eaLnBrk="0" hangingPunct="0">
                  <a:defRPr sz="1200" b="1">
                    <a:solidFill>
                      <a:schemeClr val="tx1"/>
                    </a:solidFill>
                    <a:latin typeface="微软雅黑" pitchFamily="34" charset="-122"/>
                    <a:ea typeface="微软雅黑" pitchFamily="34" charset="-122"/>
                  </a:defRPr>
                </a:lvl5pPr>
                <a:lvl6pPr marL="25146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lnSpc>
                    <a:spcPct val="110000"/>
                  </a:lnSpc>
                  <a:buClr>
                    <a:schemeClr val="bg1"/>
                  </a:buClr>
                  <a:buFont typeface="Wingdings" pitchFamily="2" charset="2"/>
                  <a:buNone/>
                </a:pPr>
                <a:r>
                  <a:rPr lang="en-US" altLang="zh-CN">
                    <a:latin typeface="Arial" pitchFamily="34" charset="0"/>
                    <a:ea typeface="华文细黑" pitchFamily="2" charset="-122"/>
                  </a:rPr>
                  <a:t>SAN</a:t>
                </a:r>
              </a:p>
            </p:txBody>
          </p:sp>
          <p:sp>
            <p:nvSpPr>
              <p:cNvPr id="30092" name="Text Box 593"/>
              <p:cNvSpPr txBox="1">
                <a:spLocks noChangeArrowheads="1"/>
              </p:cNvSpPr>
              <p:nvPr/>
            </p:nvSpPr>
            <p:spPr bwMode="auto">
              <a:xfrm>
                <a:off x="2257" y="927"/>
                <a:ext cx="374" cy="209"/>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spAutoFit/>
              </a:bodyPr>
              <a:lstStyle>
                <a:lvl1pPr defTabSz="877888" eaLnBrk="0" hangingPunct="0">
                  <a:defRPr sz="1200" b="1">
                    <a:solidFill>
                      <a:schemeClr val="tx1"/>
                    </a:solidFill>
                    <a:latin typeface="微软雅黑" pitchFamily="34" charset="-122"/>
                    <a:ea typeface="微软雅黑" pitchFamily="34" charset="-122"/>
                  </a:defRPr>
                </a:lvl1pPr>
                <a:lvl2pPr marL="742950" indent="-285750" defTabSz="877888" eaLnBrk="0" hangingPunct="0">
                  <a:defRPr sz="1200" b="1">
                    <a:solidFill>
                      <a:schemeClr val="tx1"/>
                    </a:solidFill>
                    <a:latin typeface="微软雅黑" pitchFamily="34" charset="-122"/>
                    <a:ea typeface="微软雅黑" pitchFamily="34" charset="-122"/>
                  </a:defRPr>
                </a:lvl2pPr>
                <a:lvl3pPr marL="1143000" indent="-228600" defTabSz="877888" eaLnBrk="0" hangingPunct="0">
                  <a:defRPr sz="1200" b="1">
                    <a:solidFill>
                      <a:schemeClr val="tx1"/>
                    </a:solidFill>
                    <a:latin typeface="微软雅黑" pitchFamily="34" charset="-122"/>
                    <a:ea typeface="微软雅黑" pitchFamily="34" charset="-122"/>
                  </a:defRPr>
                </a:lvl3pPr>
                <a:lvl4pPr marL="1600200" indent="-228600" defTabSz="877888" eaLnBrk="0" hangingPunct="0">
                  <a:defRPr sz="1200" b="1">
                    <a:solidFill>
                      <a:schemeClr val="tx1"/>
                    </a:solidFill>
                    <a:latin typeface="微软雅黑" pitchFamily="34" charset="-122"/>
                    <a:ea typeface="微软雅黑" pitchFamily="34" charset="-122"/>
                  </a:defRPr>
                </a:lvl4pPr>
                <a:lvl5pPr marL="2057400" indent="-228600" defTabSz="877888" eaLnBrk="0" hangingPunct="0">
                  <a:defRPr sz="1200" b="1">
                    <a:solidFill>
                      <a:schemeClr val="tx1"/>
                    </a:solidFill>
                    <a:latin typeface="微软雅黑" pitchFamily="34" charset="-122"/>
                    <a:ea typeface="微软雅黑" pitchFamily="34" charset="-122"/>
                  </a:defRPr>
                </a:lvl5pPr>
                <a:lvl6pPr marL="25146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lnSpc>
                    <a:spcPct val="110000"/>
                  </a:lnSpc>
                  <a:buClr>
                    <a:schemeClr val="bg1"/>
                  </a:buClr>
                  <a:buFont typeface="Wingdings" pitchFamily="2" charset="2"/>
                  <a:buNone/>
                </a:pPr>
                <a:r>
                  <a:rPr lang="zh-CN" altLang="en-US" sz="1000">
                    <a:latin typeface="Arial" pitchFamily="34" charset="0"/>
                    <a:ea typeface="华文细黑" pitchFamily="2" charset="-122"/>
                  </a:rPr>
                  <a:t>服务器</a:t>
                </a:r>
              </a:p>
            </p:txBody>
          </p:sp>
          <p:sp>
            <p:nvSpPr>
              <p:cNvPr id="30093" name="Text Box 594"/>
              <p:cNvSpPr txBox="1">
                <a:spLocks noChangeArrowheads="1"/>
              </p:cNvSpPr>
              <p:nvPr/>
            </p:nvSpPr>
            <p:spPr bwMode="auto">
              <a:xfrm>
                <a:off x="2257" y="1588"/>
                <a:ext cx="289" cy="346"/>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spAutoFit/>
              </a:bodyPr>
              <a:lstStyle>
                <a:lvl1pPr defTabSz="877888" eaLnBrk="0" hangingPunct="0">
                  <a:defRPr sz="1200" b="1">
                    <a:solidFill>
                      <a:schemeClr val="tx1"/>
                    </a:solidFill>
                    <a:latin typeface="微软雅黑" pitchFamily="34" charset="-122"/>
                    <a:ea typeface="微软雅黑" pitchFamily="34" charset="-122"/>
                  </a:defRPr>
                </a:lvl1pPr>
                <a:lvl2pPr marL="742950" indent="-285750" defTabSz="877888" eaLnBrk="0" hangingPunct="0">
                  <a:defRPr sz="1200" b="1">
                    <a:solidFill>
                      <a:schemeClr val="tx1"/>
                    </a:solidFill>
                    <a:latin typeface="微软雅黑" pitchFamily="34" charset="-122"/>
                    <a:ea typeface="微软雅黑" pitchFamily="34" charset="-122"/>
                  </a:defRPr>
                </a:lvl2pPr>
                <a:lvl3pPr marL="1143000" indent="-228600" defTabSz="877888" eaLnBrk="0" hangingPunct="0">
                  <a:defRPr sz="1200" b="1">
                    <a:solidFill>
                      <a:schemeClr val="tx1"/>
                    </a:solidFill>
                    <a:latin typeface="微软雅黑" pitchFamily="34" charset="-122"/>
                    <a:ea typeface="微软雅黑" pitchFamily="34" charset="-122"/>
                  </a:defRPr>
                </a:lvl3pPr>
                <a:lvl4pPr marL="1600200" indent="-228600" defTabSz="877888" eaLnBrk="0" hangingPunct="0">
                  <a:defRPr sz="1200" b="1">
                    <a:solidFill>
                      <a:schemeClr val="tx1"/>
                    </a:solidFill>
                    <a:latin typeface="微软雅黑" pitchFamily="34" charset="-122"/>
                    <a:ea typeface="微软雅黑" pitchFamily="34" charset="-122"/>
                  </a:defRPr>
                </a:lvl4pPr>
                <a:lvl5pPr marL="2057400" indent="-228600" defTabSz="877888" eaLnBrk="0" hangingPunct="0">
                  <a:defRPr sz="1200" b="1">
                    <a:solidFill>
                      <a:schemeClr val="tx1"/>
                    </a:solidFill>
                    <a:latin typeface="微软雅黑" pitchFamily="34" charset="-122"/>
                    <a:ea typeface="微软雅黑" pitchFamily="34" charset="-122"/>
                  </a:defRPr>
                </a:lvl5pPr>
                <a:lvl6pPr marL="25146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lnSpc>
                    <a:spcPct val="110000"/>
                  </a:lnSpc>
                  <a:buClr>
                    <a:schemeClr val="bg1"/>
                  </a:buClr>
                  <a:buFont typeface="Wingdings" pitchFamily="2" charset="2"/>
                  <a:buNone/>
                </a:pPr>
                <a:r>
                  <a:rPr lang="zh-CN" altLang="en-US" sz="1000">
                    <a:latin typeface="Arial" pitchFamily="34" charset="0"/>
                    <a:ea typeface="华文细黑" pitchFamily="2" charset="-122"/>
                  </a:rPr>
                  <a:t>磁盘</a:t>
                </a:r>
              </a:p>
              <a:p>
                <a:pPr eaLnBrk="1" hangingPunct="1">
                  <a:lnSpc>
                    <a:spcPct val="110000"/>
                  </a:lnSpc>
                  <a:buClr>
                    <a:schemeClr val="bg1"/>
                  </a:buClr>
                  <a:buFont typeface="Wingdings" pitchFamily="2" charset="2"/>
                  <a:buNone/>
                </a:pPr>
                <a:r>
                  <a:rPr lang="zh-CN" altLang="en-US" sz="1000">
                    <a:latin typeface="Arial" pitchFamily="34" charset="0"/>
                    <a:ea typeface="华文细黑" pitchFamily="2" charset="-122"/>
                  </a:rPr>
                  <a:t>阵列</a:t>
                </a:r>
              </a:p>
            </p:txBody>
          </p:sp>
          <p:sp>
            <p:nvSpPr>
              <p:cNvPr id="30094" name="AutoShape 595"/>
              <p:cNvSpPr>
                <a:spLocks noChangeArrowheads="1"/>
              </p:cNvSpPr>
              <p:nvPr/>
            </p:nvSpPr>
            <p:spPr bwMode="auto">
              <a:xfrm rot="10800000">
                <a:off x="2756" y="1134"/>
                <a:ext cx="363" cy="590"/>
              </a:xfrm>
              <a:prstGeom prst="triangle">
                <a:avLst>
                  <a:gd name="adj" fmla="val 12394"/>
                </a:avLst>
              </a:prstGeom>
              <a:solidFill>
                <a:srgbClr val="FF0000">
                  <a:alpha val="2509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30095" name="AutoShape 596"/>
              <p:cNvSpPr>
                <a:spLocks noChangeArrowheads="1"/>
              </p:cNvSpPr>
              <p:nvPr/>
            </p:nvSpPr>
            <p:spPr bwMode="auto">
              <a:xfrm rot="10800000">
                <a:off x="3118" y="1134"/>
                <a:ext cx="545" cy="590"/>
              </a:xfrm>
              <a:prstGeom prst="triangle">
                <a:avLst>
                  <a:gd name="adj" fmla="val 31556"/>
                </a:avLst>
              </a:prstGeom>
              <a:solidFill>
                <a:srgbClr val="00CCFF">
                  <a:alpha val="2509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grpSp>
        <p:sp>
          <p:nvSpPr>
            <p:cNvPr id="30082" name="Rectangle 597"/>
            <p:cNvSpPr>
              <a:spLocks noChangeArrowheads="1"/>
            </p:cNvSpPr>
            <p:nvPr/>
          </p:nvSpPr>
          <p:spPr bwMode="auto">
            <a:xfrm>
              <a:off x="2257" y="771"/>
              <a:ext cx="1860" cy="1225"/>
            </a:xfrm>
            <a:prstGeom prst="rect">
              <a:avLst/>
            </a:prstGeom>
            <a:noFill/>
            <a:ln w="15875" algn="ctr">
              <a:solidFill>
                <a:srgbClr val="00CCFF"/>
              </a:solidFill>
              <a:miter lim="800000"/>
              <a:headEnd/>
              <a:tailEnd/>
            </a:ln>
            <a:effectLst/>
            <a:extLst>
              <a:ext uri="{909E8E84-426E-40DD-AFC4-6F175D3DCCD1}">
                <a14:hiddenFill xmlns:a14="http://schemas.microsoft.com/office/drawing/2010/main">
                  <a:solidFill>
                    <a:srgbClr val="01BC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30083" name="Rectangle 598"/>
            <p:cNvSpPr>
              <a:spLocks noChangeArrowheads="1"/>
            </p:cNvSpPr>
            <p:nvPr/>
          </p:nvSpPr>
          <p:spPr bwMode="auto">
            <a:xfrm>
              <a:off x="2552" y="1996"/>
              <a:ext cx="1270" cy="182"/>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817" tIns="43908" rIns="87817" bIns="43908" anchor="ctr"/>
            <a:lstStyle/>
            <a:p>
              <a:pPr algn="ctr" defTabSz="877888">
                <a:lnSpc>
                  <a:spcPct val="110000"/>
                </a:lnSpc>
                <a:buClr>
                  <a:schemeClr val="bg1"/>
                </a:buClr>
                <a:buFont typeface="Wingdings" pitchFamily="2" charset="2"/>
                <a:buNone/>
              </a:pPr>
              <a:r>
                <a:rPr lang="zh-CN" altLang="en-US">
                  <a:latin typeface="Arial" pitchFamily="34" charset="0"/>
                  <a:ea typeface="华文细黑" pitchFamily="2" charset="-122"/>
                </a:rPr>
                <a:t>基于存储设备的虚拟化</a:t>
              </a:r>
            </a:p>
          </p:txBody>
        </p:sp>
      </p:grpSp>
      <p:grpSp>
        <p:nvGrpSpPr>
          <p:cNvPr id="29706" name="Group 599"/>
          <p:cNvGrpSpPr>
            <a:grpSpLocks/>
          </p:cNvGrpSpPr>
          <p:nvPr/>
        </p:nvGrpSpPr>
        <p:grpSpPr bwMode="auto">
          <a:xfrm>
            <a:off x="6345238" y="2006600"/>
            <a:ext cx="2763837" cy="1728788"/>
            <a:chOff x="4252" y="771"/>
            <a:chExt cx="1860" cy="1407"/>
          </a:xfrm>
        </p:grpSpPr>
        <p:grpSp>
          <p:nvGrpSpPr>
            <p:cNvPr id="29709" name="Group 600"/>
            <p:cNvGrpSpPr>
              <a:grpSpLocks/>
            </p:cNvGrpSpPr>
            <p:nvPr/>
          </p:nvGrpSpPr>
          <p:grpSpPr bwMode="auto">
            <a:xfrm>
              <a:off x="4320" y="862"/>
              <a:ext cx="1724" cy="1072"/>
              <a:chOff x="4207" y="862"/>
              <a:chExt cx="1724" cy="1072"/>
            </a:xfrm>
          </p:grpSpPr>
          <p:grpSp>
            <p:nvGrpSpPr>
              <p:cNvPr id="29712" name="Group 601"/>
              <p:cNvGrpSpPr>
                <a:grpSpLocks noChangeAspect="1"/>
              </p:cNvGrpSpPr>
              <p:nvPr/>
            </p:nvGrpSpPr>
            <p:grpSpPr bwMode="auto">
              <a:xfrm>
                <a:off x="4706" y="862"/>
                <a:ext cx="203" cy="284"/>
                <a:chOff x="1514" y="1106"/>
                <a:chExt cx="367" cy="605"/>
              </a:xfrm>
            </p:grpSpPr>
            <p:sp>
              <p:nvSpPr>
                <p:cNvPr id="30071" name="AutoShape 602"/>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73" name="Rectangle 604"/>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74" name="Freeform 605"/>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076" name="Rectangle 607"/>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77" name="Rectangle 608"/>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78" name="Rectangle 609"/>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79" name="Rectangle 610"/>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80" name="Rectangle 611"/>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29713" name="Group 612"/>
              <p:cNvGrpSpPr>
                <a:grpSpLocks noChangeAspect="1"/>
              </p:cNvGrpSpPr>
              <p:nvPr/>
            </p:nvGrpSpPr>
            <p:grpSpPr bwMode="auto">
              <a:xfrm>
                <a:off x="4978" y="862"/>
                <a:ext cx="203" cy="284"/>
                <a:chOff x="1514" y="1106"/>
                <a:chExt cx="367" cy="605"/>
              </a:xfrm>
            </p:grpSpPr>
            <p:sp>
              <p:nvSpPr>
                <p:cNvPr id="30061" name="AutoShape 613"/>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63" name="Rectangle 615"/>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64" name="Freeform 616"/>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066" name="Rectangle 618"/>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67" name="Rectangle 619"/>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68" name="Rectangle 620"/>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69" name="Rectangle 621"/>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70" name="Rectangle 622"/>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29714" name="Group 623"/>
              <p:cNvGrpSpPr>
                <a:grpSpLocks noChangeAspect="1"/>
              </p:cNvGrpSpPr>
              <p:nvPr/>
            </p:nvGrpSpPr>
            <p:grpSpPr bwMode="auto">
              <a:xfrm>
                <a:off x="5250" y="862"/>
                <a:ext cx="203" cy="284"/>
                <a:chOff x="1514" y="1106"/>
                <a:chExt cx="367" cy="605"/>
              </a:xfrm>
            </p:grpSpPr>
            <p:sp>
              <p:nvSpPr>
                <p:cNvPr id="30051" name="AutoShape 624"/>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53" name="Rectangle 626"/>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54" name="Freeform 627"/>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056" name="Rectangle 629"/>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57" name="Rectangle 630"/>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58" name="Rectangle 631"/>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59" name="Rectangle 632"/>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60" name="Rectangle 633"/>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29715" name="Group 634"/>
              <p:cNvGrpSpPr>
                <a:grpSpLocks noChangeAspect="1"/>
              </p:cNvGrpSpPr>
              <p:nvPr/>
            </p:nvGrpSpPr>
            <p:grpSpPr bwMode="auto">
              <a:xfrm>
                <a:off x="5522" y="862"/>
                <a:ext cx="203" cy="284"/>
                <a:chOff x="1514" y="1106"/>
                <a:chExt cx="367" cy="605"/>
              </a:xfrm>
            </p:grpSpPr>
            <p:sp>
              <p:nvSpPr>
                <p:cNvPr id="30041" name="AutoShape 635"/>
                <p:cNvSpPr>
                  <a:spLocks noChangeAspect="1" noChangeArrowheads="1" noTextEdit="1"/>
                </p:cNvSpPr>
                <p:nvPr/>
              </p:nvSpPr>
              <p:spPr bwMode="auto">
                <a:xfrm>
                  <a:off x="1514" y="1106"/>
                  <a:ext cx="367"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43" name="Rectangle 637"/>
                <p:cNvSpPr>
                  <a:spLocks noChangeArrowheads="1"/>
                </p:cNvSpPr>
                <p:nvPr/>
              </p:nvSpPr>
              <p:spPr bwMode="auto">
                <a:xfrm>
                  <a:off x="1514" y="1229"/>
                  <a:ext cx="243" cy="482"/>
                </a:xfrm>
                <a:prstGeom prst="rect">
                  <a:avLst/>
                </a:prstGeom>
                <a:solidFill>
                  <a:srgbClr val="4D72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44" name="Freeform 638"/>
                <p:cNvSpPr>
                  <a:spLocks/>
                </p:cNvSpPr>
                <p:nvPr/>
              </p:nvSpPr>
              <p:spPr bwMode="auto">
                <a:xfrm>
                  <a:off x="1757" y="1106"/>
                  <a:ext cx="124" cy="605"/>
                </a:xfrm>
                <a:custGeom>
                  <a:avLst/>
                  <a:gdLst>
                    <a:gd name="T0" fmla="*/ 0 w 3343"/>
                    <a:gd name="T1" fmla="*/ 0 h 16335"/>
                    <a:gd name="T2" fmla="*/ 0 w 3343"/>
                    <a:gd name="T3" fmla="*/ 0 h 16335"/>
                    <a:gd name="T4" fmla="*/ 0 w 3343"/>
                    <a:gd name="T5" fmla="*/ 1 h 16335"/>
                    <a:gd name="T6" fmla="*/ 0 w 3343"/>
                    <a:gd name="T7" fmla="*/ 1 h 16335"/>
                    <a:gd name="T8" fmla="*/ 0 w 3343"/>
                    <a:gd name="T9" fmla="*/ 0 h 16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43" h="16335">
                      <a:moveTo>
                        <a:pt x="3343" y="0"/>
                      </a:moveTo>
                      <a:lnTo>
                        <a:pt x="0" y="3334"/>
                      </a:lnTo>
                      <a:lnTo>
                        <a:pt x="0" y="16335"/>
                      </a:lnTo>
                      <a:lnTo>
                        <a:pt x="3343" y="13001"/>
                      </a:lnTo>
                      <a:lnTo>
                        <a:pt x="3343" y="0"/>
                      </a:lnTo>
                      <a:close/>
                    </a:path>
                  </a:pathLst>
                </a:custGeom>
                <a:solidFill>
                  <a:srgbClr val="0042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30046" name="Rectangle 640"/>
                <p:cNvSpPr>
                  <a:spLocks noChangeArrowheads="1"/>
                </p:cNvSpPr>
                <p:nvPr/>
              </p:nvSpPr>
              <p:spPr bwMode="auto">
                <a:xfrm>
                  <a:off x="1591" y="1242"/>
                  <a:ext cx="158" cy="6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47" name="Rectangle 641"/>
                <p:cNvSpPr>
                  <a:spLocks noChangeArrowheads="1"/>
                </p:cNvSpPr>
                <p:nvPr/>
              </p:nvSpPr>
              <p:spPr bwMode="auto">
                <a:xfrm>
                  <a:off x="1606" y="1255"/>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48" name="Rectangle 642"/>
                <p:cNvSpPr>
                  <a:spLocks noChangeArrowheads="1"/>
                </p:cNvSpPr>
                <p:nvPr/>
              </p:nvSpPr>
              <p:spPr bwMode="auto">
                <a:xfrm>
                  <a:off x="1591" y="1314"/>
                  <a:ext cx="158" cy="120"/>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49" name="Rectangle 643"/>
                <p:cNvSpPr>
                  <a:spLocks noChangeArrowheads="1"/>
                </p:cNvSpPr>
                <p:nvPr/>
              </p:nvSpPr>
              <p:spPr bwMode="auto">
                <a:xfrm>
                  <a:off x="1591" y="1444"/>
                  <a:ext cx="158" cy="239"/>
                </a:xfrm>
                <a:prstGeom prst="rect">
                  <a:avLst/>
                </a:prstGeom>
                <a:solidFill>
                  <a:srgbClr val="7FA6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30050" name="Rectangle 644"/>
                <p:cNvSpPr>
                  <a:spLocks noChangeArrowheads="1"/>
                </p:cNvSpPr>
                <p:nvPr/>
              </p:nvSpPr>
              <p:spPr bwMode="auto">
                <a:xfrm>
                  <a:off x="1606" y="1341"/>
                  <a:ext cx="131" cy="13"/>
                </a:xfrm>
                <a:prstGeom prst="rect">
                  <a:avLst/>
                </a:prstGeom>
                <a:solidFill>
                  <a:srgbClr val="0042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grpSp>
            <p:nvGrpSpPr>
              <p:cNvPr id="29716" name="Group 645"/>
              <p:cNvGrpSpPr>
                <a:grpSpLocks noChangeAspect="1"/>
              </p:cNvGrpSpPr>
              <p:nvPr/>
            </p:nvGrpSpPr>
            <p:grpSpPr bwMode="auto">
              <a:xfrm>
                <a:off x="4525" y="1668"/>
                <a:ext cx="318" cy="192"/>
                <a:chOff x="240" y="1134"/>
                <a:chExt cx="1335" cy="798"/>
              </a:xfrm>
            </p:grpSpPr>
            <p:grpSp>
              <p:nvGrpSpPr>
                <p:cNvPr id="29963" name="Group 646"/>
                <p:cNvGrpSpPr>
                  <a:grpSpLocks noChangeAspect="1"/>
                </p:cNvGrpSpPr>
                <p:nvPr/>
              </p:nvGrpSpPr>
              <p:grpSpPr bwMode="auto">
                <a:xfrm>
                  <a:off x="240" y="1134"/>
                  <a:ext cx="1335" cy="734"/>
                  <a:chOff x="3007" y="2646"/>
                  <a:chExt cx="1335" cy="734"/>
                </a:xfrm>
              </p:grpSpPr>
              <p:sp>
                <p:nvSpPr>
                  <p:cNvPr id="29981" name="Freeform 653"/>
                  <p:cNvSpPr>
                    <a:spLocks noChangeAspect="1"/>
                  </p:cNvSpPr>
                  <p:nvPr/>
                </p:nvSpPr>
                <p:spPr bwMode="auto">
                  <a:xfrm>
                    <a:off x="3069" y="2817"/>
                    <a:ext cx="5" cy="403"/>
                  </a:xfrm>
                  <a:custGeom>
                    <a:avLst/>
                    <a:gdLst>
                      <a:gd name="T0" fmla="*/ 0 w 2"/>
                      <a:gd name="T1" fmla="*/ 1456 h 212"/>
                      <a:gd name="T2" fmla="*/ 0 w 2"/>
                      <a:gd name="T3" fmla="*/ 0 h 212"/>
                      <a:gd name="T4" fmla="*/ 33 w 2"/>
                      <a:gd name="T5" fmla="*/ 15 h 212"/>
                      <a:gd name="T6" fmla="*/ 33 w 2"/>
                      <a:gd name="T7" fmla="*/ 1456 h 212"/>
                      <a:gd name="T8" fmla="*/ 0 w 2"/>
                      <a:gd name="T9" fmla="*/ 1456 h 2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12">
                        <a:moveTo>
                          <a:pt x="0" y="212"/>
                        </a:moveTo>
                        <a:lnTo>
                          <a:pt x="0" y="0"/>
                        </a:lnTo>
                        <a:lnTo>
                          <a:pt x="2" y="2"/>
                        </a:lnTo>
                        <a:lnTo>
                          <a:pt x="2" y="212"/>
                        </a:lnTo>
                        <a:lnTo>
                          <a:pt x="0" y="212"/>
                        </a:lnTo>
                        <a:close/>
                      </a:path>
                    </a:pathLst>
                  </a:custGeom>
                  <a:solidFill>
                    <a:srgbClr val="0C3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9982" name="Rectangle 654"/>
                  <p:cNvSpPr>
                    <a:spLocks noChangeAspect="1" noChangeArrowheads="1"/>
                  </p:cNvSpPr>
                  <p:nvPr/>
                </p:nvSpPr>
                <p:spPr bwMode="auto">
                  <a:xfrm>
                    <a:off x="3972" y="2952"/>
                    <a:ext cx="5" cy="4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9983" name="Rectangle 655"/>
                  <p:cNvSpPr>
                    <a:spLocks noChangeAspect="1" noChangeArrowheads="1"/>
                  </p:cNvSpPr>
                  <p:nvPr/>
                </p:nvSpPr>
                <p:spPr bwMode="auto">
                  <a:xfrm>
                    <a:off x="3977" y="2952"/>
                    <a:ext cx="9" cy="415"/>
                  </a:xfrm>
                  <a:prstGeom prst="rect">
                    <a:avLst/>
                  </a:prstGeom>
                  <a:solidFill>
                    <a:srgbClr val="0C3C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29989" name="Group 661"/>
                  <p:cNvGrpSpPr>
                    <a:grpSpLocks noChangeAspect="1"/>
                  </p:cNvGrpSpPr>
                  <p:nvPr/>
                </p:nvGrpSpPr>
                <p:grpSpPr bwMode="auto">
                  <a:xfrm>
                    <a:off x="3242" y="2890"/>
                    <a:ext cx="670" cy="136"/>
                    <a:chOff x="3242" y="2890"/>
                    <a:chExt cx="670" cy="136"/>
                  </a:xfrm>
                </p:grpSpPr>
                <p:grpSp>
                  <p:nvGrpSpPr>
                    <p:cNvPr id="30029" name="Group 662"/>
                    <p:cNvGrpSpPr>
                      <a:grpSpLocks noChangeAspect="1"/>
                    </p:cNvGrpSpPr>
                    <p:nvPr/>
                  </p:nvGrpSpPr>
                  <p:grpSpPr bwMode="auto">
                    <a:xfrm>
                      <a:off x="3242" y="2890"/>
                      <a:ext cx="35" cy="33"/>
                      <a:chOff x="3903" y="3708"/>
                      <a:chExt cx="35" cy="33"/>
                    </a:xfrm>
                  </p:grpSpPr>
                </p:grpSp>
                <p:grpSp>
                  <p:nvGrpSpPr>
                    <p:cNvPr id="30030" name="Group 665"/>
                    <p:cNvGrpSpPr>
                      <a:grpSpLocks noChangeAspect="1"/>
                    </p:cNvGrpSpPr>
                    <p:nvPr/>
                  </p:nvGrpSpPr>
                  <p:grpSpPr bwMode="auto">
                    <a:xfrm>
                      <a:off x="3436" y="2922"/>
                      <a:ext cx="35" cy="33"/>
                      <a:chOff x="3903" y="3708"/>
                      <a:chExt cx="35" cy="33"/>
                    </a:xfrm>
                  </p:grpSpPr>
                </p:grpSp>
                <p:grpSp>
                  <p:nvGrpSpPr>
                    <p:cNvPr id="30031" name="Group 668"/>
                    <p:cNvGrpSpPr>
                      <a:grpSpLocks noChangeAspect="1"/>
                    </p:cNvGrpSpPr>
                    <p:nvPr/>
                  </p:nvGrpSpPr>
                  <p:grpSpPr bwMode="auto">
                    <a:xfrm>
                      <a:off x="3649" y="2956"/>
                      <a:ext cx="35" cy="33"/>
                      <a:chOff x="3903" y="3708"/>
                      <a:chExt cx="35" cy="33"/>
                    </a:xfrm>
                  </p:grpSpPr>
                </p:grpSp>
                <p:grpSp>
                  <p:nvGrpSpPr>
                    <p:cNvPr id="30032" name="Group 671"/>
                    <p:cNvGrpSpPr>
                      <a:grpSpLocks noChangeAspect="1"/>
                    </p:cNvGrpSpPr>
                    <p:nvPr/>
                  </p:nvGrpSpPr>
                  <p:grpSpPr bwMode="auto">
                    <a:xfrm>
                      <a:off x="3877" y="2993"/>
                      <a:ext cx="35" cy="33"/>
                      <a:chOff x="3903" y="3708"/>
                      <a:chExt cx="35" cy="33"/>
                    </a:xfrm>
                  </p:grpSpPr>
                </p:grpSp>
              </p:grpSp>
              <p:grpSp>
                <p:nvGrpSpPr>
                  <p:cNvPr id="29990" name="Group 674"/>
                  <p:cNvGrpSpPr>
                    <a:grpSpLocks noChangeAspect="1"/>
                  </p:cNvGrpSpPr>
                  <p:nvPr/>
                </p:nvGrpSpPr>
                <p:grpSpPr bwMode="auto">
                  <a:xfrm>
                    <a:off x="3239" y="2979"/>
                    <a:ext cx="670" cy="136"/>
                    <a:chOff x="3242" y="2890"/>
                    <a:chExt cx="670" cy="136"/>
                  </a:xfrm>
                </p:grpSpPr>
                <p:grpSp>
                  <p:nvGrpSpPr>
                    <p:cNvPr id="30017" name="Group 675"/>
                    <p:cNvGrpSpPr>
                      <a:grpSpLocks noChangeAspect="1"/>
                    </p:cNvGrpSpPr>
                    <p:nvPr/>
                  </p:nvGrpSpPr>
                  <p:grpSpPr bwMode="auto">
                    <a:xfrm>
                      <a:off x="3242" y="2890"/>
                      <a:ext cx="35" cy="33"/>
                      <a:chOff x="3903" y="3708"/>
                      <a:chExt cx="35" cy="33"/>
                    </a:xfrm>
                  </p:grpSpPr>
                </p:grpSp>
                <p:grpSp>
                  <p:nvGrpSpPr>
                    <p:cNvPr id="30018" name="Group 678"/>
                    <p:cNvGrpSpPr>
                      <a:grpSpLocks noChangeAspect="1"/>
                    </p:cNvGrpSpPr>
                    <p:nvPr/>
                  </p:nvGrpSpPr>
                  <p:grpSpPr bwMode="auto">
                    <a:xfrm>
                      <a:off x="3436" y="2922"/>
                      <a:ext cx="35" cy="33"/>
                      <a:chOff x="3903" y="3708"/>
                      <a:chExt cx="35" cy="33"/>
                    </a:xfrm>
                  </p:grpSpPr>
                </p:grpSp>
                <p:grpSp>
                  <p:nvGrpSpPr>
                    <p:cNvPr id="30019" name="Group 681"/>
                    <p:cNvGrpSpPr>
                      <a:grpSpLocks noChangeAspect="1"/>
                    </p:cNvGrpSpPr>
                    <p:nvPr/>
                  </p:nvGrpSpPr>
                  <p:grpSpPr bwMode="auto">
                    <a:xfrm>
                      <a:off x="3649" y="2956"/>
                      <a:ext cx="35" cy="33"/>
                      <a:chOff x="3903" y="3708"/>
                      <a:chExt cx="35" cy="33"/>
                    </a:xfrm>
                  </p:grpSpPr>
                </p:grpSp>
                <p:grpSp>
                  <p:nvGrpSpPr>
                    <p:cNvPr id="30020" name="Group 684"/>
                    <p:cNvGrpSpPr>
                      <a:grpSpLocks noChangeAspect="1"/>
                    </p:cNvGrpSpPr>
                    <p:nvPr/>
                  </p:nvGrpSpPr>
                  <p:grpSpPr bwMode="auto">
                    <a:xfrm>
                      <a:off x="3877" y="2993"/>
                      <a:ext cx="35" cy="33"/>
                      <a:chOff x="3903" y="3708"/>
                      <a:chExt cx="35" cy="33"/>
                    </a:xfrm>
                  </p:grpSpPr>
                </p:grpSp>
              </p:grpSp>
              <p:grpSp>
                <p:nvGrpSpPr>
                  <p:cNvPr id="29991" name="Group 687"/>
                  <p:cNvGrpSpPr>
                    <a:grpSpLocks noChangeAspect="1"/>
                  </p:cNvGrpSpPr>
                  <p:nvPr/>
                </p:nvGrpSpPr>
                <p:grpSpPr bwMode="auto">
                  <a:xfrm>
                    <a:off x="3235" y="3075"/>
                    <a:ext cx="670" cy="136"/>
                    <a:chOff x="3242" y="2890"/>
                    <a:chExt cx="670" cy="136"/>
                  </a:xfrm>
                </p:grpSpPr>
                <p:grpSp>
                  <p:nvGrpSpPr>
                    <p:cNvPr id="30005" name="Group 688"/>
                    <p:cNvGrpSpPr>
                      <a:grpSpLocks noChangeAspect="1"/>
                    </p:cNvGrpSpPr>
                    <p:nvPr/>
                  </p:nvGrpSpPr>
                  <p:grpSpPr bwMode="auto">
                    <a:xfrm>
                      <a:off x="3242" y="2890"/>
                      <a:ext cx="35" cy="33"/>
                      <a:chOff x="3903" y="3708"/>
                      <a:chExt cx="35" cy="33"/>
                    </a:xfrm>
                  </p:grpSpPr>
                </p:grpSp>
                <p:grpSp>
                  <p:nvGrpSpPr>
                    <p:cNvPr id="30006" name="Group 691"/>
                    <p:cNvGrpSpPr>
                      <a:grpSpLocks noChangeAspect="1"/>
                    </p:cNvGrpSpPr>
                    <p:nvPr/>
                  </p:nvGrpSpPr>
                  <p:grpSpPr bwMode="auto">
                    <a:xfrm>
                      <a:off x="3436" y="2922"/>
                      <a:ext cx="35" cy="33"/>
                      <a:chOff x="3903" y="3708"/>
                      <a:chExt cx="35" cy="33"/>
                    </a:xfrm>
                  </p:grpSpPr>
                </p:grpSp>
                <p:grpSp>
                  <p:nvGrpSpPr>
                    <p:cNvPr id="30007" name="Group 694"/>
                    <p:cNvGrpSpPr>
                      <a:grpSpLocks noChangeAspect="1"/>
                    </p:cNvGrpSpPr>
                    <p:nvPr/>
                  </p:nvGrpSpPr>
                  <p:grpSpPr bwMode="auto">
                    <a:xfrm>
                      <a:off x="3649" y="2956"/>
                      <a:ext cx="35" cy="33"/>
                      <a:chOff x="3903" y="3708"/>
                      <a:chExt cx="35" cy="33"/>
                    </a:xfrm>
                  </p:grpSpPr>
                </p:grpSp>
                <p:grpSp>
                  <p:nvGrpSpPr>
                    <p:cNvPr id="30008" name="Group 697"/>
                    <p:cNvGrpSpPr>
                      <a:grpSpLocks noChangeAspect="1"/>
                    </p:cNvGrpSpPr>
                    <p:nvPr/>
                  </p:nvGrpSpPr>
                  <p:grpSpPr bwMode="auto">
                    <a:xfrm>
                      <a:off x="3877" y="2993"/>
                      <a:ext cx="35" cy="33"/>
                      <a:chOff x="3903" y="3708"/>
                      <a:chExt cx="35" cy="33"/>
                    </a:xfrm>
                  </p:grpSpPr>
                </p:grpSp>
              </p:grpSp>
              <p:grpSp>
                <p:nvGrpSpPr>
                  <p:cNvPr id="29992" name="Group 700"/>
                  <p:cNvGrpSpPr>
                    <a:grpSpLocks noChangeAspect="1"/>
                  </p:cNvGrpSpPr>
                  <p:nvPr/>
                </p:nvGrpSpPr>
                <p:grpSpPr bwMode="auto">
                  <a:xfrm>
                    <a:off x="3231" y="3179"/>
                    <a:ext cx="670" cy="136"/>
                    <a:chOff x="3242" y="2890"/>
                    <a:chExt cx="670" cy="136"/>
                  </a:xfrm>
                </p:grpSpPr>
                <p:grpSp>
                  <p:nvGrpSpPr>
                    <p:cNvPr id="29993" name="Group 701"/>
                    <p:cNvGrpSpPr>
                      <a:grpSpLocks noChangeAspect="1"/>
                    </p:cNvGrpSpPr>
                    <p:nvPr/>
                  </p:nvGrpSpPr>
                  <p:grpSpPr bwMode="auto">
                    <a:xfrm>
                      <a:off x="3242" y="2890"/>
                      <a:ext cx="35" cy="33"/>
                      <a:chOff x="3903" y="3708"/>
                      <a:chExt cx="35" cy="33"/>
                    </a:xfrm>
                  </p:grpSpPr>
                </p:grpSp>
                <p:grpSp>
                  <p:nvGrpSpPr>
                    <p:cNvPr id="29994" name="Group 704"/>
                    <p:cNvGrpSpPr>
                      <a:grpSpLocks noChangeAspect="1"/>
                    </p:cNvGrpSpPr>
                    <p:nvPr/>
                  </p:nvGrpSpPr>
                  <p:grpSpPr bwMode="auto">
                    <a:xfrm>
                      <a:off x="3436" y="2922"/>
                      <a:ext cx="35" cy="33"/>
                      <a:chOff x="3903" y="3708"/>
                      <a:chExt cx="35" cy="33"/>
                    </a:xfrm>
                  </p:grpSpPr>
                </p:grpSp>
                <p:grpSp>
                  <p:nvGrpSpPr>
                    <p:cNvPr id="29995" name="Group 707"/>
                    <p:cNvGrpSpPr>
                      <a:grpSpLocks noChangeAspect="1"/>
                    </p:cNvGrpSpPr>
                    <p:nvPr/>
                  </p:nvGrpSpPr>
                  <p:grpSpPr bwMode="auto">
                    <a:xfrm>
                      <a:off x="3649" y="2956"/>
                      <a:ext cx="35" cy="33"/>
                      <a:chOff x="3903" y="3708"/>
                      <a:chExt cx="35" cy="33"/>
                    </a:xfrm>
                  </p:grpSpPr>
                </p:grpSp>
                <p:grpSp>
                  <p:nvGrpSpPr>
                    <p:cNvPr id="29996" name="Group 710"/>
                    <p:cNvGrpSpPr>
                      <a:grpSpLocks noChangeAspect="1"/>
                    </p:cNvGrpSpPr>
                    <p:nvPr/>
                  </p:nvGrpSpPr>
                  <p:grpSpPr bwMode="auto">
                    <a:xfrm>
                      <a:off x="3877" y="2993"/>
                      <a:ext cx="35" cy="33"/>
                      <a:chOff x="3903" y="3708"/>
                      <a:chExt cx="35" cy="33"/>
                    </a:xfrm>
                  </p:grpSpPr>
                </p:grpSp>
              </p:grpSp>
            </p:grpSp>
            <p:grpSp>
              <p:nvGrpSpPr>
                <p:cNvPr id="29964" name="Group 713"/>
                <p:cNvGrpSpPr>
                  <a:grpSpLocks noChangeAspect="1"/>
                </p:cNvGrpSpPr>
                <p:nvPr/>
              </p:nvGrpSpPr>
              <p:grpSpPr bwMode="auto">
                <a:xfrm>
                  <a:off x="1110" y="1602"/>
                  <a:ext cx="269" cy="330"/>
                  <a:chOff x="2362" y="3405"/>
                  <a:chExt cx="352" cy="432"/>
                </a:xfrm>
              </p:grpSpPr>
              <p:sp>
                <p:nvSpPr>
                  <p:cNvPr id="29973" name="Oval 722"/>
                  <p:cNvSpPr>
                    <a:spLocks noChangeAspect="1" noChangeArrowheads="1"/>
                  </p:cNvSpPr>
                  <p:nvPr/>
                </p:nvSpPr>
                <p:spPr bwMode="auto">
                  <a:xfrm>
                    <a:off x="2364" y="3405"/>
                    <a:ext cx="350" cy="117"/>
                  </a:xfrm>
                  <a:prstGeom prst="ellipse">
                    <a:avLst/>
                  </a:prstGeom>
                  <a:solidFill>
                    <a:srgbClr val="8BA6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grpSp>
            <p:nvGrpSpPr>
              <p:cNvPr id="29717" name="Group 724"/>
              <p:cNvGrpSpPr>
                <a:grpSpLocks noChangeAspect="1"/>
              </p:cNvGrpSpPr>
              <p:nvPr/>
            </p:nvGrpSpPr>
            <p:grpSpPr bwMode="auto">
              <a:xfrm>
                <a:off x="4888" y="1668"/>
                <a:ext cx="318" cy="192"/>
                <a:chOff x="240" y="1134"/>
                <a:chExt cx="1335" cy="798"/>
              </a:xfrm>
            </p:grpSpPr>
            <p:grpSp>
              <p:nvGrpSpPr>
                <p:cNvPr id="29885" name="Group 725"/>
                <p:cNvGrpSpPr>
                  <a:grpSpLocks noChangeAspect="1"/>
                </p:cNvGrpSpPr>
                <p:nvPr/>
              </p:nvGrpSpPr>
              <p:grpSpPr bwMode="auto">
                <a:xfrm>
                  <a:off x="240" y="1134"/>
                  <a:ext cx="1335" cy="734"/>
                  <a:chOff x="3007" y="2646"/>
                  <a:chExt cx="1335" cy="734"/>
                </a:xfrm>
              </p:grpSpPr>
              <p:sp>
                <p:nvSpPr>
                  <p:cNvPr id="29903" name="Freeform 732"/>
                  <p:cNvSpPr>
                    <a:spLocks noChangeAspect="1"/>
                  </p:cNvSpPr>
                  <p:nvPr/>
                </p:nvSpPr>
                <p:spPr bwMode="auto">
                  <a:xfrm>
                    <a:off x="3069" y="2817"/>
                    <a:ext cx="5" cy="403"/>
                  </a:xfrm>
                  <a:custGeom>
                    <a:avLst/>
                    <a:gdLst>
                      <a:gd name="T0" fmla="*/ 0 w 2"/>
                      <a:gd name="T1" fmla="*/ 1456 h 212"/>
                      <a:gd name="T2" fmla="*/ 0 w 2"/>
                      <a:gd name="T3" fmla="*/ 0 h 212"/>
                      <a:gd name="T4" fmla="*/ 33 w 2"/>
                      <a:gd name="T5" fmla="*/ 15 h 212"/>
                      <a:gd name="T6" fmla="*/ 33 w 2"/>
                      <a:gd name="T7" fmla="*/ 1456 h 212"/>
                      <a:gd name="T8" fmla="*/ 0 w 2"/>
                      <a:gd name="T9" fmla="*/ 1456 h 2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12">
                        <a:moveTo>
                          <a:pt x="0" y="212"/>
                        </a:moveTo>
                        <a:lnTo>
                          <a:pt x="0" y="0"/>
                        </a:lnTo>
                        <a:lnTo>
                          <a:pt x="2" y="2"/>
                        </a:lnTo>
                        <a:lnTo>
                          <a:pt x="2" y="212"/>
                        </a:lnTo>
                        <a:lnTo>
                          <a:pt x="0" y="212"/>
                        </a:lnTo>
                        <a:close/>
                      </a:path>
                    </a:pathLst>
                  </a:custGeom>
                  <a:solidFill>
                    <a:srgbClr val="0C3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9904" name="Rectangle 733"/>
                  <p:cNvSpPr>
                    <a:spLocks noChangeAspect="1" noChangeArrowheads="1"/>
                  </p:cNvSpPr>
                  <p:nvPr/>
                </p:nvSpPr>
                <p:spPr bwMode="auto">
                  <a:xfrm>
                    <a:off x="3972" y="2952"/>
                    <a:ext cx="5" cy="4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9905" name="Rectangle 734"/>
                  <p:cNvSpPr>
                    <a:spLocks noChangeAspect="1" noChangeArrowheads="1"/>
                  </p:cNvSpPr>
                  <p:nvPr/>
                </p:nvSpPr>
                <p:spPr bwMode="auto">
                  <a:xfrm>
                    <a:off x="3977" y="2952"/>
                    <a:ext cx="9" cy="415"/>
                  </a:xfrm>
                  <a:prstGeom prst="rect">
                    <a:avLst/>
                  </a:prstGeom>
                  <a:solidFill>
                    <a:srgbClr val="0C3C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29911" name="Group 740"/>
                  <p:cNvGrpSpPr>
                    <a:grpSpLocks noChangeAspect="1"/>
                  </p:cNvGrpSpPr>
                  <p:nvPr/>
                </p:nvGrpSpPr>
                <p:grpSpPr bwMode="auto">
                  <a:xfrm>
                    <a:off x="3242" y="2890"/>
                    <a:ext cx="670" cy="136"/>
                    <a:chOff x="3242" y="2890"/>
                    <a:chExt cx="670" cy="136"/>
                  </a:xfrm>
                </p:grpSpPr>
                <p:grpSp>
                  <p:nvGrpSpPr>
                    <p:cNvPr id="29951" name="Group 741"/>
                    <p:cNvGrpSpPr>
                      <a:grpSpLocks noChangeAspect="1"/>
                    </p:cNvGrpSpPr>
                    <p:nvPr/>
                  </p:nvGrpSpPr>
                  <p:grpSpPr bwMode="auto">
                    <a:xfrm>
                      <a:off x="3242" y="2890"/>
                      <a:ext cx="35" cy="33"/>
                      <a:chOff x="3903" y="3708"/>
                      <a:chExt cx="35" cy="33"/>
                    </a:xfrm>
                  </p:grpSpPr>
                </p:grpSp>
                <p:grpSp>
                  <p:nvGrpSpPr>
                    <p:cNvPr id="29952" name="Group 744"/>
                    <p:cNvGrpSpPr>
                      <a:grpSpLocks noChangeAspect="1"/>
                    </p:cNvGrpSpPr>
                    <p:nvPr/>
                  </p:nvGrpSpPr>
                  <p:grpSpPr bwMode="auto">
                    <a:xfrm>
                      <a:off x="3436" y="2922"/>
                      <a:ext cx="35" cy="33"/>
                      <a:chOff x="3903" y="3708"/>
                      <a:chExt cx="35" cy="33"/>
                    </a:xfrm>
                  </p:grpSpPr>
                </p:grpSp>
                <p:grpSp>
                  <p:nvGrpSpPr>
                    <p:cNvPr id="29953" name="Group 747"/>
                    <p:cNvGrpSpPr>
                      <a:grpSpLocks noChangeAspect="1"/>
                    </p:cNvGrpSpPr>
                    <p:nvPr/>
                  </p:nvGrpSpPr>
                  <p:grpSpPr bwMode="auto">
                    <a:xfrm>
                      <a:off x="3649" y="2956"/>
                      <a:ext cx="35" cy="33"/>
                      <a:chOff x="3903" y="3708"/>
                      <a:chExt cx="35" cy="33"/>
                    </a:xfrm>
                  </p:grpSpPr>
                </p:grpSp>
                <p:grpSp>
                  <p:nvGrpSpPr>
                    <p:cNvPr id="29954" name="Group 750"/>
                    <p:cNvGrpSpPr>
                      <a:grpSpLocks noChangeAspect="1"/>
                    </p:cNvGrpSpPr>
                    <p:nvPr/>
                  </p:nvGrpSpPr>
                  <p:grpSpPr bwMode="auto">
                    <a:xfrm>
                      <a:off x="3877" y="2993"/>
                      <a:ext cx="35" cy="33"/>
                      <a:chOff x="3903" y="3708"/>
                      <a:chExt cx="35" cy="33"/>
                    </a:xfrm>
                  </p:grpSpPr>
                </p:grpSp>
              </p:grpSp>
              <p:grpSp>
                <p:nvGrpSpPr>
                  <p:cNvPr id="29912" name="Group 753"/>
                  <p:cNvGrpSpPr>
                    <a:grpSpLocks noChangeAspect="1"/>
                  </p:cNvGrpSpPr>
                  <p:nvPr/>
                </p:nvGrpSpPr>
                <p:grpSpPr bwMode="auto">
                  <a:xfrm>
                    <a:off x="3239" y="2979"/>
                    <a:ext cx="670" cy="136"/>
                    <a:chOff x="3242" y="2890"/>
                    <a:chExt cx="670" cy="136"/>
                  </a:xfrm>
                </p:grpSpPr>
                <p:grpSp>
                  <p:nvGrpSpPr>
                    <p:cNvPr id="29939" name="Group 754"/>
                    <p:cNvGrpSpPr>
                      <a:grpSpLocks noChangeAspect="1"/>
                    </p:cNvGrpSpPr>
                    <p:nvPr/>
                  </p:nvGrpSpPr>
                  <p:grpSpPr bwMode="auto">
                    <a:xfrm>
                      <a:off x="3242" y="2890"/>
                      <a:ext cx="35" cy="33"/>
                      <a:chOff x="3903" y="3708"/>
                      <a:chExt cx="35" cy="33"/>
                    </a:xfrm>
                  </p:grpSpPr>
                </p:grpSp>
                <p:grpSp>
                  <p:nvGrpSpPr>
                    <p:cNvPr id="29940" name="Group 757"/>
                    <p:cNvGrpSpPr>
                      <a:grpSpLocks noChangeAspect="1"/>
                    </p:cNvGrpSpPr>
                    <p:nvPr/>
                  </p:nvGrpSpPr>
                  <p:grpSpPr bwMode="auto">
                    <a:xfrm>
                      <a:off x="3436" y="2922"/>
                      <a:ext cx="35" cy="33"/>
                      <a:chOff x="3903" y="3708"/>
                      <a:chExt cx="35" cy="33"/>
                    </a:xfrm>
                  </p:grpSpPr>
                </p:grpSp>
                <p:grpSp>
                  <p:nvGrpSpPr>
                    <p:cNvPr id="29941" name="Group 760"/>
                    <p:cNvGrpSpPr>
                      <a:grpSpLocks noChangeAspect="1"/>
                    </p:cNvGrpSpPr>
                    <p:nvPr/>
                  </p:nvGrpSpPr>
                  <p:grpSpPr bwMode="auto">
                    <a:xfrm>
                      <a:off x="3649" y="2956"/>
                      <a:ext cx="35" cy="33"/>
                      <a:chOff x="3903" y="3708"/>
                      <a:chExt cx="35" cy="33"/>
                    </a:xfrm>
                  </p:grpSpPr>
                </p:grpSp>
                <p:grpSp>
                  <p:nvGrpSpPr>
                    <p:cNvPr id="29942" name="Group 763"/>
                    <p:cNvGrpSpPr>
                      <a:grpSpLocks noChangeAspect="1"/>
                    </p:cNvGrpSpPr>
                    <p:nvPr/>
                  </p:nvGrpSpPr>
                  <p:grpSpPr bwMode="auto">
                    <a:xfrm>
                      <a:off x="3877" y="2993"/>
                      <a:ext cx="35" cy="33"/>
                      <a:chOff x="3903" y="3708"/>
                      <a:chExt cx="35" cy="33"/>
                    </a:xfrm>
                  </p:grpSpPr>
                </p:grpSp>
              </p:grpSp>
              <p:grpSp>
                <p:nvGrpSpPr>
                  <p:cNvPr id="29913" name="Group 766"/>
                  <p:cNvGrpSpPr>
                    <a:grpSpLocks noChangeAspect="1"/>
                  </p:cNvGrpSpPr>
                  <p:nvPr/>
                </p:nvGrpSpPr>
                <p:grpSpPr bwMode="auto">
                  <a:xfrm>
                    <a:off x="3235" y="3075"/>
                    <a:ext cx="670" cy="136"/>
                    <a:chOff x="3242" y="2890"/>
                    <a:chExt cx="670" cy="136"/>
                  </a:xfrm>
                </p:grpSpPr>
                <p:grpSp>
                  <p:nvGrpSpPr>
                    <p:cNvPr id="29927" name="Group 767"/>
                    <p:cNvGrpSpPr>
                      <a:grpSpLocks noChangeAspect="1"/>
                    </p:cNvGrpSpPr>
                    <p:nvPr/>
                  </p:nvGrpSpPr>
                  <p:grpSpPr bwMode="auto">
                    <a:xfrm>
                      <a:off x="3242" y="2890"/>
                      <a:ext cx="35" cy="33"/>
                      <a:chOff x="3903" y="3708"/>
                      <a:chExt cx="35" cy="33"/>
                    </a:xfrm>
                  </p:grpSpPr>
                </p:grpSp>
                <p:grpSp>
                  <p:nvGrpSpPr>
                    <p:cNvPr id="29928" name="Group 770"/>
                    <p:cNvGrpSpPr>
                      <a:grpSpLocks noChangeAspect="1"/>
                    </p:cNvGrpSpPr>
                    <p:nvPr/>
                  </p:nvGrpSpPr>
                  <p:grpSpPr bwMode="auto">
                    <a:xfrm>
                      <a:off x="3436" y="2922"/>
                      <a:ext cx="35" cy="33"/>
                      <a:chOff x="3903" y="3708"/>
                      <a:chExt cx="35" cy="33"/>
                    </a:xfrm>
                  </p:grpSpPr>
                </p:grpSp>
                <p:grpSp>
                  <p:nvGrpSpPr>
                    <p:cNvPr id="29929" name="Group 773"/>
                    <p:cNvGrpSpPr>
                      <a:grpSpLocks noChangeAspect="1"/>
                    </p:cNvGrpSpPr>
                    <p:nvPr/>
                  </p:nvGrpSpPr>
                  <p:grpSpPr bwMode="auto">
                    <a:xfrm>
                      <a:off x="3649" y="2956"/>
                      <a:ext cx="35" cy="33"/>
                      <a:chOff x="3903" y="3708"/>
                      <a:chExt cx="35" cy="33"/>
                    </a:xfrm>
                  </p:grpSpPr>
                </p:grpSp>
                <p:grpSp>
                  <p:nvGrpSpPr>
                    <p:cNvPr id="29930" name="Group 776"/>
                    <p:cNvGrpSpPr>
                      <a:grpSpLocks noChangeAspect="1"/>
                    </p:cNvGrpSpPr>
                    <p:nvPr/>
                  </p:nvGrpSpPr>
                  <p:grpSpPr bwMode="auto">
                    <a:xfrm>
                      <a:off x="3877" y="2993"/>
                      <a:ext cx="35" cy="33"/>
                      <a:chOff x="3903" y="3708"/>
                      <a:chExt cx="35" cy="33"/>
                    </a:xfrm>
                  </p:grpSpPr>
                </p:grpSp>
              </p:grpSp>
              <p:grpSp>
                <p:nvGrpSpPr>
                  <p:cNvPr id="29914" name="Group 779"/>
                  <p:cNvGrpSpPr>
                    <a:grpSpLocks noChangeAspect="1"/>
                  </p:cNvGrpSpPr>
                  <p:nvPr/>
                </p:nvGrpSpPr>
                <p:grpSpPr bwMode="auto">
                  <a:xfrm>
                    <a:off x="3231" y="3179"/>
                    <a:ext cx="670" cy="136"/>
                    <a:chOff x="3242" y="2890"/>
                    <a:chExt cx="670" cy="136"/>
                  </a:xfrm>
                </p:grpSpPr>
                <p:grpSp>
                  <p:nvGrpSpPr>
                    <p:cNvPr id="29915" name="Group 780"/>
                    <p:cNvGrpSpPr>
                      <a:grpSpLocks noChangeAspect="1"/>
                    </p:cNvGrpSpPr>
                    <p:nvPr/>
                  </p:nvGrpSpPr>
                  <p:grpSpPr bwMode="auto">
                    <a:xfrm>
                      <a:off x="3242" y="2890"/>
                      <a:ext cx="35" cy="33"/>
                      <a:chOff x="3903" y="3708"/>
                      <a:chExt cx="35" cy="33"/>
                    </a:xfrm>
                  </p:grpSpPr>
                </p:grpSp>
                <p:grpSp>
                  <p:nvGrpSpPr>
                    <p:cNvPr id="29916" name="Group 783"/>
                    <p:cNvGrpSpPr>
                      <a:grpSpLocks noChangeAspect="1"/>
                    </p:cNvGrpSpPr>
                    <p:nvPr/>
                  </p:nvGrpSpPr>
                  <p:grpSpPr bwMode="auto">
                    <a:xfrm>
                      <a:off x="3436" y="2922"/>
                      <a:ext cx="35" cy="33"/>
                      <a:chOff x="3903" y="3708"/>
                      <a:chExt cx="35" cy="33"/>
                    </a:xfrm>
                  </p:grpSpPr>
                </p:grpSp>
                <p:grpSp>
                  <p:nvGrpSpPr>
                    <p:cNvPr id="29917" name="Group 786"/>
                    <p:cNvGrpSpPr>
                      <a:grpSpLocks noChangeAspect="1"/>
                    </p:cNvGrpSpPr>
                    <p:nvPr/>
                  </p:nvGrpSpPr>
                  <p:grpSpPr bwMode="auto">
                    <a:xfrm>
                      <a:off x="3649" y="2956"/>
                      <a:ext cx="35" cy="33"/>
                      <a:chOff x="3903" y="3708"/>
                      <a:chExt cx="35" cy="33"/>
                    </a:xfrm>
                  </p:grpSpPr>
                </p:grpSp>
                <p:grpSp>
                  <p:nvGrpSpPr>
                    <p:cNvPr id="29918" name="Group 789"/>
                    <p:cNvGrpSpPr>
                      <a:grpSpLocks noChangeAspect="1"/>
                    </p:cNvGrpSpPr>
                    <p:nvPr/>
                  </p:nvGrpSpPr>
                  <p:grpSpPr bwMode="auto">
                    <a:xfrm>
                      <a:off x="3877" y="2993"/>
                      <a:ext cx="35" cy="33"/>
                      <a:chOff x="3903" y="3708"/>
                      <a:chExt cx="35" cy="33"/>
                    </a:xfrm>
                  </p:grpSpPr>
                </p:grpSp>
              </p:grpSp>
            </p:grpSp>
            <p:grpSp>
              <p:nvGrpSpPr>
                <p:cNvPr id="29886" name="Group 792"/>
                <p:cNvGrpSpPr>
                  <a:grpSpLocks noChangeAspect="1"/>
                </p:cNvGrpSpPr>
                <p:nvPr/>
              </p:nvGrpSpPr>
              <p:grpSpPr bwMode="auto">
                <a:xfrm>
                  <a:off x="1110" y="1602"/>
                  <a:ext cx="269" cy="330"/>
                  <a:chOff x="2362" y="3405"/>
                  <a:chExt cx="352" cy="432"/>
                </a:xfrm>
              </p:grpSpPr>
              <p:sp>
                <p:nvSpPr>
                  <p:cNvPr id="29895" name="Oval 801"/>
                  <p:cNvSpPr>
                    <a:spLocks noChangeAspect="1" noChangeArrowheads="1"/>
                  </p:cNvSpPr>
                  <p:nvPr/>
                </p:nvSpPr>
                <p:spPr bwMode="auto">
                  <a:xfrm>
                    <a:off x="2364" y="3405"/>
                    <a:ext cx="350" cy="117"/>
                  </a:xfrm>
                  <a:prstGeom prst="ellipse">
                    <a:avLst/>
                  </a:prstGeom>
                  <a:solidFill>
                    <a:srgbClr val="8BA6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grpSp>
            <p:nvGrpSpPr>
              <p:cNvPr id="29718" name="Group 803"/>
              <p:cNvGrpSpPr>
                <a:grpSpLocks noChangeAspect="1"/>
              </p:cNvGrpSpPr>
              <p:nvPr/>
            </p:nvGrpSpPr>
            <p:grpSpPr bwMode="auto">
              <a:xfrm>
                <a:off x="5250" y="1668"/>
                <a:ext cx="318" cy="192"/>
                <a:chOff x="240" y="1134"/>
                <a:chExt cx="1335" cy="798"/>
              </a:xfrm>
            </p:grpSpPr>
            <p:grpSp>
              <p:nvGrpSpPr>
                <p:cNvPr id="29807" name="Group 804"/>
                <p:cNvGrpSpPr>
                  <a:grpSpLocks noChangeAspect="1"/>
                </p:cNvGrpSpPr>
                <p:nvPr/>
              </p:nvGrpSpPr>
              <p:grpSpPr bwMode="auto">
                <a:xfrm>
                  <a:off x="240" y="1134"/>
                  <a:ext cx="1335" cy="734"/>
                  <a:chOff x="3007" y="2646"/>
                  <a:chExt cx="1335" cy="734"/>
                </a:xfrm>
              </p:grpSpPr>
              <p:sp>
                <p:nvSpPr>
                  <p:cNvPr id="29825" name="Freeform 811"/>
                  <p:cNvSpPr>
                    <a:spLocks noChangeAspect="1"/>
                  </p:cNvSpPr>
                  <p:nvPr/>
                </p:nvSpPr>
                <p:spPr bwMode="auto">
                  <a:xfrm>
                    <a:off x="3069" y="2817"/>
                    <a:ext cx="5" cy="403"/>
                  </a:xfrm>
                  <a:custGeom>
                    <a:avLst/>
                    <a:gdLst>
                      <a:gd name="T0" fmla="*/ 0 w 2"/>
                      <a:gd name="T1" fmla="*/ 1456 h 212"/>
                      <a:gd name="T2" fmla="*/ 0 w 2"/>
                      <a:gd name="T3" fmla="*/ 0 h 212"/>
                      <a:gd name="T4" fmla="*/ 33 w 2"/>
                      <a:gd name="T5" fmla="*/ 15 h 212"/>
                      <a:gd name="T6" fmla="*/ 33 w 2"/>
                      <a:gd name="T7" fmla="*/ 1456 h 212"/>
                      <a:gd name="T8" fmla="*/ 0 w 2"/>
                      <a:gd name="T9" fmla="*/ 1456 h 2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12">
                        <a:moveTo>
                          <a:pt x="0" y="212"/>
                        </a:moveTo>
                        <a:lnTo>
                          <a:pt x="0" y="0"/>
                        </a:lnTo>
                        <a:lnTo>
                          <a:pt x="2" y="2"/>
                        </a:lnTo>
                        <a:lnTo>
                          <a:pt x="2" y="212"/>
                        </a:lnTo>
                        <a:lnTo>
                          <a:pt x="0" y="212"/>
                        </a:lnTo>
                        <a:close/>
                      </a:path>
                    </a:pathLst>
                  </a:custGeom>
                  <a:solidFill>
                    <a:srgbClr val="0C3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9826" name="Rectangle 812"/>
                  <p:cNvSpPr>
                    <a:spLocks noChangeAspect="1" noChangeArrowheads="1"/>
                  </p:cNvSpPr>
                  <p:nvPr/>
                </p:nvSpPr>
                <p:spPr bwMode="auto">
                  <a:xfrm>
                    <a:off x="3972" y="2952"/>
                    <a:ext cx="5" cy="4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9827" name="Rectangle 813"/>
                  <p:cNvSpPr>
                    <a:spLocks noChangeAspect="1" noChangeArrowheads="1"/>
                  </p:cNvSpPr>
                  <p:nvPr/>
                </p:nvSpPr>
                <p:spPr bwMode="auto">
                  <a:xfrm>
                    <a:off x="3977" y="2952"/>
                    <a:ext cx="9" cy="415"/>
                  </a:xfrm>
                  <a:prstGeom prst="rect">
                    <a:avLst/>
                  </a:prstGeom>
                  <a:solidFill>
                    <a:srgbClr val="0C3C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29833" name="Group 819"/>
                  <p:cNvGrpSpPr>
                    <a:grpSpLocks noChangeAspect="1"/>
                  </p:cNvGrpSpPr>
                  <p:nvPr/>
                </p:nvGrpSpPr>
                <p:grpSpPr bwMode="auto">
                  <a:xfrm>
                    <a:off x="3242" y="2890"/>
                    <a:ext cx="670" cy="136"/>
                    <a:chOff x="3242" y="2890"/>
                    <a:chExt cx="670" cy="136"/>
                  </a:xfrm>
                </p:grpSpPr>
                <p:grpSp>
                  <p:nvGrpSpPr>
                    <p:cNvPr id="29873" name="Group 820"/>
                    <p:cNvGrpSpPr>
                      <a:grpSpLocks noChangeAspect="1"/>
                    </p:cNvGrpSpPr>
                    <p:nvPr/>
                  </p:nvGrpSpPr>
                  <p:grpSpPr bwMode="auto">
                    <a:xfrm>
                      <a:off x="3242" y="2890"/>
                      <a:ext cx="35" cy="33"/>
                      <a:chOff x="3903" y="3708"/>
                      <a:chExt cx="35" cy="33"/>
                    </a:xfrm>
                  </p:grpSpPr>
                </p:grpSp>
                <p:grpSp>
                  <p:nvGrpSpPr>
                    <p:cNvPr id="29874" name="Group 823"/>
                    <p:cNvGrpSpPr>
                      <a:grpSpLocks noChangeAspect="1"/>
                    </p:cNvGrpSpPr>
                    <p:nvPr/>
                  </p:nvGrpSpPr>
                  <p:grpSpPr bwMode="auto">
                    <a:xfrm>
                      <a:off x="3436" y="2922"/>
                      <a:ext cx="35" cy="33"/>
                      <a:chOff x="3903" y="3708"/>
                      <a:chExt cx="35" cy="33"/>
                    </a:xfrm>
                  </p:grpSpPr>
                </p:grpSp>
                <p:grpSp>
                  <p:nvGrpSpPr>
                    <p:cNvPr id="29875" name="Group 826"/>
                    <p:cNvGrpSpPr>
                      <a:grpSpLocks noChangeAspect="1"/>
                    </p:cNvGrpSpPr>
                    <p:nvPr/>
                  </p:nvGrpSpPr>
                  <p:grpSpPr bwMode="auto">
                    <a:xfrm>
                      <a:off x="3649" y="2956"/>
                      <a:ext cx="35" cy="33"/>
                      <a:chOff x="3903" y="3708"/>
                      <a:chExt cx="35" cy="33"/>
                    </a:xfrm>
                  </p:grpSpPr>
                </p:grpSp>
                <p:grpSp>
                  <p:nvGrpSpPr>
                    <p:cNvPr id="29876" name="Group 829"/>
                    <p:cNvGrpSpPr>
                      <a:grpSpLocks noChangeAspect="1"/>
                    </p:cNvGrpSpPr>
                    <p:nvPr/>
                  </p:nvGrpSpPr>
                  <p:grpSpPr bwMode="auto">
                    <a:xfrm>
                      <a:off x="3877" y="2993"/>
                      <a:ext cx="35" cy="33"/>
                      <a:chOff x="3903" y="3708"/>
                      <a:chExt cx="35" cy="33"/>
                    </a:xfrm>
                  </p:grpSpPr>
                </p:grpSp>
              </p:grpSp>
              <p:grpSp>
                <p:nvGrpSpPr>
                  <p:cNvPr id="29834" name="Group 832"/>
                  <p:cNvGrpSpPr>
                    <a:grpSpLocks noChangeAspect="1"/>
                  </p:cNvGrpSpPr>
                  <p:nvPr/>
                </p:nvGrpSpPr>
                <p:grpSpPr bwMode="auto">
                  <a:xfrm>
                    <a:off x="3239" y="2979"/>
                    <a:ext cx="670" cy="136"/>
                    <a:chOff x="3242" y="2890"/>
                    <a:chExt cx="670" cy="136"/>
                  </a:xfrm>
                </p:grpSpPr>
                <p:grpSp>
                  <p:nvGrpSpPr>
                    <p:cNvPr id="29861" name="Group 833"/>
                    <p:cNvGrpSpPr>
                      <a:grpSpLocks noChangeAspect="1"/>
                    </p:cNvGrpSpPr>
                    <p:nvPr/>
                  </p:nvGrpSpPr>
                  <p:grpSpPr bwMode="auto">
                    <a:xfrm>
                      <a:off x="3242" y="2890"/>
                      <a:ext cx="35" cy="33"/>
                      <a:chOff x="3903" y="3708"/>
                      <a:chExt cx="35" cy="33"/>
                    </a:xfrm>
                  </p:grpSpPr>
                </p:grpSp>
                <p:grpSp>
                  <p:nvGrpSpPr>
                    <p:cNvPr id="29862" name="Group 836"/>
                    <p:cNvGrpSpPr>
                      <a:grpSpLocks noChangeAspect="1"/>
                    </p:cNvGrpSpPr>
                    <p:nvPr/>
                  </p:nvGrpSpPr>
                  <p:grpSpPr bwMode="auto">
                    <a:xfrm>
                      <a:off x="3436" y="2922"/>
                      <a:ext cx="35" cy="33"/>
                      <a:chOff x="3903" y="3708"/>
                      <a:chExt cx="35" cy="33"/>
                    </a:xfrm>
                  </p:grpSpPr>
                </p:grpSp>
                <p:grpSp>
                  <p:nvGrpSpPr>
                    <p:cNvPr id="29863" name="Group 839"/>
                    <p:cNvGrpSpPr>
                      <a:grpSpLocks noChangeAspect="1"/>
                    </p:cNvGrpSpPr>
                    <p:nvPr/>
                  </p:nvGrpSpPr>
                  <p:grpSpPr bwMode="auto">
                    <a:xfrm>
                      <a:off x="3649" y="2956"/>
                      <a:ext cx="35" cy="33"/>
                      <a:chOff x="3903" y="3708"/>
                      <a:chExt cx="35" cy="33"/>
                    </a:xfrm>
                  </p:grpSpPr>
                </p:grpSp>
                <p:grpSp>
                  <p:nvGrpSpPr>
                    <p:cNvPr id="29864" name="Group 842"/>
                    <p:cNvGrpSpPr>
                      <a:grpSpLocks noChangeAspect="1"/>
                    </p:cNvGrpSpPr>
                    <p:nvPr/>
                  </p:nvGrpSpPr>
                  <p:grpSpPr bwMode="auto">
                    <a:xfrm>
                      <a:off x="3877" y="2993"/>
                      <a:ext cx="35" cy="33"/>
                      <a:chOff x="3903" y="3708"/>
                      <a:chExt cx="35" cy="33"/>
                    </a:xfrm>
                  </p:grpSpPr>
                </p:grpSp>
              </p:grpSp>
              <p:grpSp>
                <p:nvGrpSpPr>
                  <p:cNvPr id="29835" name="Group 845"/>
                  <p:cNvGrpSpPr>
                    <a:grpSpLocks noChangeAspect="1"/>
                  </p:cNvGrpSpPr>
                  <p:nvPr/>
                </p:nvGrpSpPr>
                <p:grpSpPr bwMode="auto">
                  <a:xfrm>
                    <a:off x="3235" y="3075"/>
                    <a:ext cx="670" cy="136"/>
                    <a:chOff x="3242" y="2890"/>
                    <a:chExt cx="670" cy="136"/>
                  </a:xfrm>
                </p:grpSpPr>
                <p:grpSp>
                  <p:nvGrpSpPr>
                    <p:cNvPr id="29849" name="Group 846"/>
                    <p:cNvGrpSpPr>
                      <a:grpSpLocks noChangeAspect="1"/>
                    </p:cNvGrpSpPr>
                    <p:nvPr/>
                  </p:nvGrpSpPr>
                  <p:grpSpPr bwMode="auto">
                    <a:xfrm>
                      <a:off x="3242" y="2890"/>
                      <a:ext cx="35" cy="33"/>
                      <a:chOff x="3903" y="3708"/>
                      <a:chExt cx="35" cy="33"/>
                    </a:xfrm>
                  </p:grpSpPr>
                </p:grpSp>
                <p:grpSp>
                  <p:nvGrpSpPr>
                    <p:cNvPr id="29850" name="Group 849"/>
                    <p:cNvGrpSpPr>
                      <a:grpSpLocks noChangeAspect="1"/>
                    </p:cNvGrpSpPr>
                    <p:nvPr/>
                  </p:nvGrpSpPr>
                  <p:grpSpPr bwMode="auto">
                    <a:xfrm>
                      <a:off x="3436" y="2922"/>
                      <a:ext cx="35" cy="33"/>
                      <a:chOff x="3903" y="3708"/>
                      <a:chExt cx="35" cy="33"/>
                    </a:xfrm>
                  </p:grpSpPr>
                </p:grpSp>
                <p:grpSp>
                  <p:nvGrpSpPr>
                    <p:cNvPr id="29851" name="Group 852"/>
                    <p:cNvGrpSpPr>
                      <a:grpSpLocks noChangeAspect="1"/>
                    </p:cNvGrpSpPr>
                    <p:nvPr/>
                  </p:nvGrpSpPr>
                  <p:grpSpPr bwMode="auto">
                    <a:xfrm>
                      <a:off x="3649" y="2956"/>
                      <a:ext cx="35" cy="33"/>
                      <a:chOff x="3903" y="3708"/>
                      <a:chExt cx="35" cy="33"/>
                    </a:xfrm>
                  </p:grpSpPr>
                </p:grpSp>
                <p:grpSp>
                  <p:nvGrpSpPr>
                    <p:cNvPr id="29852" name="Group 855"/>
                    <p:cNvGrpSpPr>
                      <a:grpSpLocks noChangeAspect="1"/>
                    </p:cNvGrpSpPr>
                    <p:nvPr/>
                  </p:nvGrpSpPr>
                  <p:grpSpPr bwMode="auto">
                    <a:xfrm>
                      <a:off x="3877" y="2993"/>
                      <a:ext cx="35" cy="33"/>
                      <a:chOff x="3903" y="3708"/>
                      <a:chExt cx="35" cy="33"/>
                    </a:xfrm>
                  </p:grpSpPr>
                </p:grpSp>
              </p:grpSp>
              <p:grpSp>
                <p:nvGrpSpPr>
                  <p:cNvPr id="29836" name="Group 858"/>
                  <p:cNvGrpSpPr>
                    <a:grpSpLocks noChangeAspect="1"/>
                  </p:cNvGrpSpPr>
                  <p:nvPr/>
                </p:nvGrpSpPr>
                <p:grpSpPr bwMode="auto">
                  <a:xfrm>
                    <a:off x="3231" y="3179"/>
                    <a:ext cx="670" cy="136"/>
                    <a:chOff x="3242" y="2890"/>
                    <a:chExt cx="670" cy="136"/>
                  </a:xfrm>
                </p:grpSpPr>
                <p:grpSp>
                  <p:nvGrpSpPr>
                    <p:cNvPr id="29837" name="Group 859"/>
                    <p:cNvGrpSpPr>
                      <a:grpSpLocks noChangeAspect="1"/>
                    </p:cNvGrpSpPr>
                    <p:nvPr/>
                  </p:nvGrpSpPr>
                  <p:grpSpPr bwMode="auto">
                    <a:xfrm>
                      <a:off x="3242" y="2890"/>
                      <a:ext cx="35" cy="33"/>
                      <a:chOff x="3903" y="3708"/>
                      <a:chExt cx="35" cy="33"/>
                    </a:xfrm>
                  </p:grpSpPr>
                </p:grpSp>
                <p:grpSp>
                  <p:nvGrpSpPr>
                    <p:cNvPr id="29838" name="Group 862"/>
                    <p:cNvGrpSpPr>
                      <a:grpSpLocks noChangeAspect="1"/>
                    </p:cNvGrpSpPr>
                    <p:nvPr/>
                  </p:nvGrpSpPr>
                  <p:grpSpPr bwMode="auto">
                    <a:xfrm>
                      <a:off x="3436" y="2922"/>
                      <a:ext cx="35" cy="33"/>
                      <a:chOff x="3903" y="3708"/>
                      <a:chExt cx="35" cy="33"/>
                    </a:xfrm>
                  </p:grpSpPr>
                </p:grpSp>
                <p:grpSp>
                  <p:nvGrpSpPr>
                    <p:cNvPr id="29839" name="Group 865"/>
                    <p:cNvGrpSpPr>
                      <a:grpSpLocks noChangeAspect="1"/>
                    </p:cNvGrpSpPr>
                    <p:nvPr/>
                  </p:nvGrpSpPr>
                  <p:grpSpPr bwMode="auto">
                    <a:xfrm>
                      <a:off x="3649" y="2956"/>
                      <a:ext cx="35" cy="33"/>
                      <a:chOff x="3903" y="3708"/>
                      <a:chExt cx="35" cy="33"/>
                    </a:xfrm>
                  </p:grpSpPr>
                </p:grpSp>
                <p:grpSp>
                  <p:nvGrpSpPr>
                    <p:cNvPr id="29840" name="Group 868"/>
                    <p:cNvGrpSpPr>
                      <a:grpSpLocks noChangeAspect="1"/>
                    </p:cNvGrpSpPr>
                    <p:nvPr/>
                  </p:nvGrpSpPr>
                  <p:grpSpPr bwMode="auto">
                    <a:xfrm>
                      <a:off x="3877" y="2993"/>
                      <a:ext cx="35" cy="33"/>
                      <a:chOff x="3903" y="3708"/>
                      <a:chExt cx="35" cy="33"/>
                    </a:xfrm>
                  </p:grpSpPr>
                </p:grpSp>
              </p:grpSp>
            </p:grpSp>
            <p:grpSp>
              <p:nvGrpSpPr>
                <p:cNvPr id="29808" name="Group 871"/>
                <p:cNvGrpSpPr>
                  <a:grpSpLocks noChangeAspect="1"/>
                </p:cNvGrpSpPr>
                <p:nvPr/>
              </p:nvGrpSpPr>
              <p:grpSpPr bwMode="auto">
                <a:xfrm>
                  <a:off x="1110" y="1602"/>
                  <a:ext cx="269" cy="330"/>
                  <a:chOff x="2362" y="3405"/>
                  <a:chExt cx="352" cy="432"/>
                </a:xfrm>
              </p:grpSpPr>
              <p:sp>
                <p:nvSpPr>
                  <p:cNvPr id="29817" name="Oval 880"/>
                  <p:cNvSpPr>
                    <a:spLocks noChangeAspect="1" noChangeArrowheads="1"/>
                  </p:cNvSpPr>
                  <p:nvPr/>
                </p:nvSpPr>
                <p:spPr bwMode="auto">
                  <a:xfrm>
                    <a:off x="2364" y="3405"/>
                    <a:ext cx="350" cy="117"/>
                  </a:xfrm>
                  <a:prstGeom prst="ellipse">
                    <a:avLst/>
                  </a:prstGeom>
                  <a:solidFill>
                    <a:srgbClr val="8BA6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grpSp>
            <p:nvGrpSpPr>
              <p:cNvPr id="29719" name="Group 882"/>
              <p:cNvGrpSpPr>
                <a:grpSpLocks noChangeAspect="1"/>
              </p:cNvGrpSpPr>
              <p:nvPr/>
            </p:nvGrpSpPr>
            <p:grpSpPr bwMode="auto">
              <a:xfrm>
                <a:off x="5613" y="1668"/>
                <a:ext cx="318" cy="192"/>
                <a:chOff x="240" y="1134"/>
                <a:chExt cx="1335" cy="798"/>
              </a:xfrm>
            </p:grpSpPr>
            <p:grpSp>
              <p:nvGrpSpPr>
                <p:cNvPr id="29729" name="Group 883"/>
                <p:cNvGrpSpPr>
                  <a:grpSpLocks noChangeAspect="1"/>
                </p:cNvGrpSpPr>
                <p:nvPr/>
              </p:nvGrpSpPr>
              <p:grpSpPr bwMode="auto">
                <a:xfrm>
                  <a:off x="240" y="1134"/>
                  <a:ext cx="1335" cy="734"/>
                  <a:chOff x="3007" y="2646"/>
                  <a:chExt cx="1335" cy="734"/>
                </a:xfrm>
              </p:grpSpPr>
              <p:sp>
                <p:nvSpPr>
                  <p:cNvPr id="29747" name="Freeform 890"/>
                  <p:cNvSpPr>
                    <a:spLocks noChangeAspect="1"/>
                  </p:cNvSpPr>
                  <p:nvPr/>
                </p:nvSpPr>
                <p:spPr bwMode="auto">
                  <a:xfrm>
                    <a:off x="3069" y="2817"/>
                    <a:ext cx="5" cy="403"/>
                  </a:xfrm>
                  <a:custGeom>
                    <a:avLst/>
                    <a:gdLst>
                      <a:gd name="T0" fmla="*/ 0 w 2"/>
                      <a:gd name="T1" fmla="*/ 1456 h 212"/>
                      <a:gd name="T2" fmla="*/ 0 w 2"/>
                      <a:gd name="T3" fmla="*/ 0 h 212"/>
                      <a:gd name="T4" fmla="*/ 33 w 2"/>
                      <a:gd name="T5" fmla="*/ 15 h 212"/>
                      <a:gd name="T6" fmla="*/ 33 w 2"/>
                      <a:gd name="T7" fmla="*/ 1456 h 212"/>
                      <a:gd name="T8" fmla="*/ 0 w 2"/>
                      <a:gd name="T9" fmla="*/ 1456 h 2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12">
                        <a:moveTo>
                          <a:pt x="0" y="212"/>
                        </a:moveTo>
                        <a:lnTo>
                          <a:pt x="0" y="0"/>
                        </a:lnTo>
                        <a:lnTo>
                          <a:pt x="2" y="2"/>
                        </a:lnTo>
                        <a:lnTo>
                          <a:pt x="2" y="212"/>
                        </a:lnTo>
                        <a:lnTo>
                          <a:pt x="0" y="212"/>
                        </a:lnTo>
                        <a:close/>
                      </a:path>
                    </a:pathLst>
                  </a:custGeom>
                  <a:solidFill>
                    <a:srgbClr val="0C3C6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9748" name="Rectangle 891"/>
                  <p:cNvSpPr>
                    <a:spLocks noChangeAspect="1" noChangeArrowheads="1"/>
                  </p:cNvSpPr>
                  <p:nvPr/>
                </p:nvSpPr>
                <p:spPr bwMode="auto">
                  <a:xfrm>
                    <a:off x="3972" y="2952"/>
                    <a:ext cx="5" cy="4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sp>
                <p:nvSpPr>
                  <p:cNvPr id="29749" name="Rectangle 892"/>
                  <p:cNvSpPr>
                    <a:spLocks noChangeAspect="1" noChangeArrowheads="1"/>
                  </p:cNvSpPr>
                  <p:nvPr/>
                </p:nvSpPr>
                <p:spPr bwMode="auto">
                  <a:xfrm>
                    <a:off x="3977" y="2952"/>
                    <a:ext cx="9" cy="415"/>
                  </a:xfrm>
                  <a:prstGeom prst="rect">
                    <a:avLst/>
                  </a:prstGeom>
                  <a:solidFill>
                    <a:srgbClr val="0C3C6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zh-CN" altLang="en-US"/>
                  </a:p>
                </p:txBody>
              </p:sp>
              <p:grpSp>
                <p:nvGrpSpPr>
                  <p:cNvPr id="29755" name="Group 898"/>
                  <p:cNvGrpSpPr>
                    <a:grpSpLocks noChangeAspect="1"/>
                  </p:cNvGrpSpPr>
                  <p:nvPr/>
                </p:nvGrpSpPr>
                <p:grpSpPr bwMode="auto">
                  <a:xfrm>
                    <a:off x="3242" y="2890"/>
                    <a:ext cx="670" cy="136"/>
                    <a:chOff x="3242" y="2890"/>
                    <a:chExt cx="670" cy="136"/>
                  </a:xfrm>
                </p:grpSpPr>
                <p:grpSp>
                  <p:nvGrpSpPr>
                    <p:cNvPr id="29795" name="Group 899"/>
                    <p:cNvGrpSpPr>
                      <a:grpSpLocks noChangeAspect="1"/>
                    </p:cNvGrpSpPr>
                    <p:nvPr/>
                  </p:nvGrpSpPr>
                  <p:grpSpPr bwMode="auto">
                    <a:xfrm>
                      <a:off x="3242" y="2890"/>
                      <a:ext cx="35" cy="33"/>
                      <a:chOff x="3903" y="3708"/>
                      <a:chExt cx="35" cy="33"/>
                    </a:xfrm>
                  </p:grpSpPr>
                </p:grpSp>
                <p:grpSp>
                  <p:nvGrpSpPr>
                    <p:cNvPr id="29796" name="Group 902"/>
                    <p:cNvGrpSpPr>
                      <a:grpSpLocks noChangeAspect="1"/>
                    </p:cNvGrpSpPr>
                    <p:nvPr/>
                  </p:nvGrpSpPr>
                  <p:grpSpPr bwMode="auto">
                    <a:xfrm>
                      <a:off x="3436" y="2922"/>
                      <a:ext cx="35" cy="33"/>
                      <a:chOff x="3903" y="3708"/>
                      <a:chExt cx="35" cy="33"/>
                    </a:xfrm>
                  </p:grpSpPr>
                </p:grpSp>
                <p:grpSp>
                  <p:nvGrpSpPr>
                    <p:cNvPr id="29797" name="Group 905"/>
                    <p:cNvGrpSpPr>
                      <a:grpSpLocks noChangeAspect="1"/>
                    </p:cNvGrpSpPr>
                    <p:nvPr/>
                  </p:nvGrpSpPr>
                  <p:grpSpPr bwMode="auto">
                    <a:xfrm>
                      <a:off x="3649" y="2956"/>
                      <a:ext cx="35" cy="33"/>
                      <a:chOff x="3903" y="3708"/>
                      <a:chExt cx="35" cy="33"/>
                    </a:xfrm>
                  </p:grpSpPr>
                </p:grpSp>
                <p:grpSp>
                  <p:nvGrpSpPr>
                    <p:cNvPr id="29798" name="Group 908"/>
                    <p:cNvGrpSpPr>
                      <a:grpSpLocks noChangeAspect="1"/>
                    </p:cNvGrpSpPr>
                    <p:nvPr/>
                  </p:nvGrpSpPr>
                  <p:grpSpPr bwMode="auto">
                    <a:xfrm>
                      <a:off x="3877" y="2993"/>
                      <a:ext cx="35" cy="33"/>
                      <a:chOff x="3903" y="3708"/>
                      <a:chExt cx="35" cy="33"/>
                    </a:xfrm>
                  </p:grpSpPr>
                </p:grpSp>
              </p:grpSp>
              <p:grpSp>
                <p:nvGrpSpPr>
                  <p:cNvPr id="29756" name="Group 911"/>
                  <p:cNvGrpSpPr>
                    <a:grpSpLocks noChangeAspect="1"/>
                  </p:cNvGrpSpPr>
                  <p:nvPr/>
                </p:nvGrpSpPr>
                <p:grpSpPr bwMode="auto">
                  <a:xfrm>
                    <a:off x="3239" y="2979"/>
                    <a:ext cx="670" cy="136"/>
                    <a:chOff x="3242" y="2890"/>
                    <a:chExt cx="670" cy="136"/>
                  </a:xfrm>
                </p:grpSpPr>
                <p:grpSp>
                  <p:nvGrpSpPr>
                    <p:cNvPr id="29783" name="Group 912"/>
                    <p:cNvGrpSpPr>
                      <a:grpSpLocks noChangeAspect="1"/>
                    </p:cNvGrpSpPr>
                    <p:nvPr/>
                  </p:nvGrpSpPr>
                  <p:grpSpPr bwMode="auto">
                    <a:xfrm>
                      <a:off x="3242" y="2890"/>
                      <a:ext cx="35" cy="33"/>
                      <a:chOff x="3903" y="3708"/>
                      <a:chExt cx="35" cy="33"/>
                    </a:xfrm>
                  </p:grpSpPr>
                </p:grpSp>
                <p:grpSp>
                  <p:nvGrpSpPr>
                    <p:cNvPr id="29784" name="Group 915"/>
                    <p:cNvGrpSpPr>
                      <a:grpSpLocks noChangeAspect="1"/>
                    </p:cNvGrpSpPr>
                    <p:nvPr/>
                  </p:nvGrpSpPr>
                  <p:grpSpPr bwMode="auto">
                    <a:xfrm>
                      <a:off x="3436" y="2922"/>
                      <a:ext cx="35" cy="33"/>
                      <a:chOff x="3903" y="3708"/>
                      <a:chExt cx="35" cy="33"/>
                    </a:xfrm>
                  </p:grpSpPr>
                </p:grpSp>
                <p:grpSp>
                  <p:nvGrpSpPr>
                    <p:cNvPr id="29785" name="Group 918"/>
                    <p:cNvGrpSpPr>
                      <a:grpSpLocks noChangeAspect="1"/>
                    </p:cNvGrpSpPr>
                    <p:nvPr/>
                  </p:nvGrpSpPr>
                  <p:grpSpPr bwMode="auto">
                    <a:xfrm>
                      <a:off x="3649" y="2956"/>
                      <a:ext cx="35" cy="33"/>
                      <a:chOff x="3903" y="3708"/>
                      <a:chExt cx="35" cy="33"/>
                    </a:xfrm>
                  </p:grpSpPr>
                </p:grpSp>
                <p:grpSp>
                  <p:nvGrpSpPr>
                    <p:cNvPr id="29786" name="Group 921"/>
                    <p:cNvGrpSpPr>
                      <a:grpSpLocks noChangeAspect="1"/>
                    </p:cNvGrpSpPr>
                    <p:nvPr/>
                  </p:nvGrpSpPr>
                  <p:grpSpPr bwMode="auto">
                    <a:xfrm>
                      <a:off x="3877" y="2993"/>
                      <a:ext cx="35" cy="33"/>
                      <a:chOff x="3903" y="3708"/>
                      <a:chExt cx="35" cy="33"/>
                    </a:xfrm>
                  </p:grpSpPr>
                </p:grpSp>
              </p:grpSp>
              <p:grpSp>
                <p:nvGrpSpPr>
                  <p:cNvPr id="29757" name="Group 924"/>
                  <p:cNvGrpSpPr>
                    <a:grpSpLocks noChangeAspect="1"/>
                  </p:cNvGrpSpPr>
                  <p:nvPr/>
                </p:nvGrpSpPr>
                <p:grpSpPr bwMode="auto">
                  <a:xfrm>
                    <a:off x="3235" y="3075"/>
                    <a:ext cx="670" cy="136"/>
                    <a:chOff x="3242" y="2890"/>
                    <a:chExt cx="670" cy="136"/>
                  </a:xfrm>
                </p:grpSpPr>
                <p:grpSp>
                  <p:nvGrpSpPr>
                    <p:cNvPr id="29771" name="Group 925"/>
                    <p:cNvGrpSpPr>
                      <a:grpSpLocks noChangeAspect="1"/>
                    </p:cNvGrpSpPr>
                    <p:nvPr/>
                  </p:nvGrpSpPr>
                  <p:grpSpPr bwMode="auto">
                    <a:xfrm>
                      <a:off x="3242" y="2890"/>
                      <a:ext cx="35" cy="33"/>
                      <a:chOff x="3903" y="3708"/>
                      <a:chExt cx="35" cy="33"/>
                    </a:xfrm>
                  </p:grpSpPr>
                </p:grpSp>
                <p:grpSp>
                  <p:nvGrpSpPr>
                    <p:cNvPr id="29772" name="Group 928"/>
                    <p:cNvGrpSpPr>
                      <a:grpSpLocks noChangeAspect="1"/>
                    </p:cNvGrpSpPr>
                    <p:nvPr/>
                  </p:nvGrpSpPr>
                  <p:grpSpPr bwMode="auto">
                    <a:xfrm>
                      <a:off x="3436" y="2922"/>
                      <a:ext cx="35" cy="33"/>
                      <a:chOff x="3903" y="3708"/>
                      <a:chExt cx="35" cy="33"/>
                    </a:xfrm>
                  </p:grpSpPr>
                </p:grpSp>
                <p:grpSp>
                  <p:nvGrpSpPr>
                    <p:cNvPr id="29773" name="Group 931"/>
                    <p:cNvGrpSpPr>
                      <a:grpSpLocks noChangeAspect="1"/>
                    </p:cNvGrpSpPr>
                    <p:nvPr/>
                  </p:nvGrpSpPr>
                  <p:grpSpPr bwMode="auto">
                    <a:xfrm>
                      <a:off x="3649" y="2956"/>
                      <a:ext cx="35" cy="33"/>
                      <a:chOff x="3903" y="3708"/>
                      <a:chExt cx="35" cy="33"/>
                    </a:xfrm>
                  </p:grpSpPr>
                </p:grpSp>
                <p:grpSp>
                  <p:nvGrpSpPr>
                    <p:cNvPr id="29774" name="Group 934"/>
                    <p:cNvGrpSpPr>
                      <a:grpSpLocks noChangeAspect="1"/>
                    </p:cNvGrpSpPr>
                    <p:nvPr/>
                  </p:nvGrpSpPr>
                  <p:grpSpPr bwMode="auto">
                    <a:xfrm>
                      <a:off x="3877" y="2993"/>
                      <a:ext cx="35" cy="33"/>
                      <a:chOff x="3903" y="3708"/>
                      <a:chExt cx="35" cy="33"/>
                    </a:xfrm>
                  </p:grpSpPr>
                </p:grpSp>
              </p:grpSp>
              <p:grpSp>
                <p:nvGrpSpPr>
                  <p:cNvPr id="29758" name="Group 937"/>
                  <p:cNvGrpSpPr>
                    <a:grpSpLocks noChangeAspect="1"/>
                  </p:cNvGrpSpPr>
                  <p:nvPr/>
                </p:nvGrpSpPr>
                <p:grpSpPr bwMode="auto">
                  <a:xfrm>
                    <a:off x="3231" y="3179"/>
                    <a:ext cx="670" cy="136"/>
                    <a:chOff x="3242" y="2890"/>
                    <a:chExt cx="670" cy="136"/>
                  </a:xfrm>
                </p:grpSpPr>
                <p:grpSp>
                  <p:nvGrpSpPr>
                    <p:cNvPr id="29759" name="Group 938"/>
                    <p:cNvGrpSpPr>
                      <a:grpSpLocks noChangeAspect="1"/>
                    </p:cNvGrpSpPr>
                    <p:nvPr/>
                  </p:nvGrpSpPr>
                  <p:grpSpPr bwMode="auto">
                    <a:xfrm>
                      <a:off x="3242" y="2890"/>
                      <a:ext cx="35" cy="33"/>
                      <a:chOff x="3903" y="3708"/>
                      <a:chExt cx="35" cy="33"/>
                    </a:xfrm>
                  </p:grpSpPr>
                </p:grpSp>
                <p:grpSp>
                  <p:nvGrpSpPr>
                    <p:cNvPr id="29760" name="Group 941"/>
                    <p:cNvGrpSpPr>
                      <a:grpSpLocks noChangeAspect="1"/>
                    </p:cNvGrpSpPr>
                    <p:nvPr/>
                  </p:nvGrpSpPr>
                  <p:grpSpPr bwMode="auto">
                    <a:xfrm>
                      <a:off x="3436" y="2922"/>
                      <a:ext cx="35" cy="33"/>
                      <a:chOff x="3903" y="3708"/>
                      <a:chExt cx="35" cy="33"/>
                    </a:xfrm>
                  </p:grpSpPr>
                </p:grpSp>
                <p:grpSp>
                  <p:nvGrpSpPr>
                    <p:cNvPr id="29761" name="Group 944"/>
                    <p:cNvGrpSpPr>
                      <a:grpSpLocks noChangeAspect="1"/>
                    </p:cNvGrpSpPr>
                    <p:nvPr/>
                  </p:nvGrpSpPr>
                  <p:grpSpPr bwMode="auto">
                    <a:xfrm>
                      <a:off x="3649" y="2956"/>
                      <a:ext cx="35" cy="33"/>
                      <a:chOff x="3903" y="3708"/>
                      <a:chExt cx="35" cy="33"/>
                    </a:xfrm>
                  </p:grpSpPr>
                </p:grpSp>
                <p:grpSp>
                  <p:nvGrpSpPr>
                    <p:cNvPr id="29762" name="Group 947"/>
                    <p:cNvGrpSpPr>
                      <a:grpSpLocks noChangeAspect="1"/>
                    </p:cNvGrpSpPr>
                    <p:nvPr/>
                  </p:nvGrpSpPr>
                  <p:grpSpPr bwMode="auto">
                    <a:xfrm>
                      <a:off x="3877" y="2993"/>
                      <a:ext cx="35" cy="33"/>
                      <a:chOff x="3903" y="3708"/>
                      <a:chExt cx="35" cy="33"/>
                    </a:xfrm>
                  </p:grpSpPr>
                </p:grpSp>
              </p:grpSp>
            </p:grpSp>
            <p:grpSp>
              <p:nvGrpSpPr>
                <p:cNvPr id="29730" name="Group 950"/>
                <p:cNvGrpSpPr>
                  <a:grpSpLocks noChangeAspect="1"/>
                </p:cNvGrpSpPr>
                <p:nvPr/>
              </p:nvGrpSpPr>
              <p:grpSpPr bwMode="auto">
                <a:xfrm>
                  <a:off x="1110" y="1602"/>
                  <a:ext cx="269" cy="330"/>
                  <a:chOff x="2362" y="3405"/>
                  <a:chExt cx="352" cy="432"/>
                </a:xfrm>
              </p:grpSpPr>
              <p:sp>
                <p:nvSpPr>
                  <p:cNvPr id="29739" name="Oval 959"/>
                  <p:cNvSpPr>
                    <a:spLocks noChangeAspect="1" noChangeArrowheads="1"/>
                  </p:cNvSpPr>
                  <p:nvPr/>
                </p:nvSpPr>
                <p:spPr bwMode="auto">
                  <a:xfrm>
                    <a:off x="2364" y="3405"/>
                    <a:ext cx="350" cy="117"/>
                  </a:xfrm>
                  <a:prstGeom prst="ellipse">
                    <a:avLst/>
                  </a:prstGeom>
                  <a:solidFill>
                    <a:srgbClr val="8BA6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sp>
            <p:nvSpPr>
              <p:cNvPr id="29720" name="Oval 961"/>
              <p:cNvSpPr>
                <a:spLocks noChangeArrowheads="1"/>
              </p:cNvSpPr>
              <p:nvPr/>
            </p:nvSpPr>
            <p:spPr bwMode="auto">
              <a:xfrm>
                <a:off x="4479" y="1311"/>
                <a:ext cx="1452" cy="231"/>
              </a:xfrm>
              <a:prstGeom prst="ellipse">
                <a:avLst/>
              </a:prstGeom>
              <a:noFill/>
              <a:ln w="19050" algn="ctr">
                <a:solidFill>
                  <a:srgbClr val="008000"/>
                </a:solidFill>
                <a:round/>
                <a:headEnd/>
                <a:tailEnd/>
              </a:ln>
              <a:effectLst/>
              <a:extLst>
                <a:ext uri="{909E8E84-426E-40DD-AFC4-6F175D3DCCD1}">
                  <a14:hiddenFill xmlns:a14="http://schemas.microsoft.com/office/drawing/2010/main">
                    <a:solidFill>
                      <a:srgbClr val="01BC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29721" name="Text Box 962"/>
              <p:cNvSpPr txBox="1">
                <a:spLocks noChangeArrowheads="1"/>
              </p:cNvSpPr>
              <p:nvPr/>
            </p:nvSpPr>
            <p:spPr bwMode="auto">
              <a:xfrm>
                <a:off x="4842" y="1349"/>
                <a:ext cx="964" cy="236"/>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spAutoFit/>
              </a:bodyPr>
              <a:lstStyle>
                <a:lvl1pPr defTabSz="877888" eaLnBrk="0" hangingPunct="0">
                  <a:defRPr sz="1200" b="1">
                    <a:solidFill>
                      <a:schemeClr val="tx1"/>
                    </a:solidFill>
                    <a:latin typeface="微软雅黑" pitchFamily="34" charset="-122"/>
                    <a:ea typeface="微软雅黑" pitchFamily="34" charset="-122"/>
                  </a:defRPr>
                </a:lvl1pPr>
                <a:lvl2pPr marL="742950" indent="-285750" defTabSz="877888" eaLnBrk="0" hangingPunct="0">
                  <a:defRPr sz="1200" b="1">
                    <a:solidFill>
                      <a:schemeClr val="tx1"/>
                    </a:solidFill>
                    <a:latin typeface="微软雅黑" pitchFamily="34" charset="-122"/>
                    <a:ea typeface="微软雅黑" pitchFamily="34" charset="-122"/>
                  </a:defRPr>
                </a:lvl2pPr>
                <a:lvl3pPr marL="1143000" indent="-228600" defTabSz="877888" eaLnBrk="0" hangingPunct="0">
                  <a:defRPr sz="1200" b="1">
                    <a:solidFill>
                      <a:schemeClr val="tx1"/>
                    </a:solidFill>
                    <a:latin typeface="微软雅黑" pitchFamily="34" charset="-122"/>
                    <a:ea typeface="微软雅黑" pitchFamily="34" charset="-122"/>
                  </a:defRPr>
                </a:lvl3pPr>
                <a:lvl4pPr marL="1600200" indent="-228600" defTabSz="877888" eaLnBrk="0" hangingPunct="0">
                  <a:defRPr sz="1200" b="1">
                    <a:solidFill>
                      <a:schemeClr val="tx1"/>
                    </a:solidFill>
                    <a:latin typeface="微软雅黑" pitchFamily="34" charset="-122"/>
                    <a:ea typeface="微软雅黑" pitchFamily="34" charset="-122"/>
                  </a:defRPr>
                </a:lvl4pPr>
                <a:lvl5pPr marL="2057400" indent="-228600" defTabSz="877888" eaLnBrk="0" hangingPunct="0">
                  <a:defRPr sz="1200" b="1">
                    <a:solidFill>
                      <a:schemeClr val="tx1"/>
                    </a:solidFill>
                    <a:latin typeface="微软雅黑" pitchFamily="34" charset="-122"/>
                    <a:ea typeface="微软雅黑" pitchFamily="34" charset="-122"/>
                  </a:defRPr>
                </a:lvl5pPr>
                <a:lvl6pPr marL="25146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lnSpc>
                    <a:spcPct val="110000"/>
                  </a:lnSpc>
                  <a:buClr>
                    <a:schemeClr val="bg1"/>
                  </a:buClr>
                  <a:buFont typeface="Wingdings" pitchFamily="2" charset="2"/>
                  <a:buNone/>
                </a:pPr>
                <a:r>
                  <a:rPr lang="en-US" altLang="zh-CN">
                    <a:latin typeface="Arial" pitchFamily="34" charset="0"/>
                    <a:ea typeface="华文细黑" pitchFamily="2" charset="-122"/>
                  </a:rPr>
                  <a:t>SAN + </a:t>
                </a:r>
                <a:r>
                  <a:rPr lang="zh-CN" altLang="en-US">
                    <a:latin typeface="Arial" pitchFamily="34" charset="0"/>
                    <a:ea typeface="华文细黑" pitchFamily="2" charset="-122"/>
                  </a:rPr>
                  <a:t>虚拟化引擎</a:t>
                </a:r>
              </a:p>
            </p:txBody>
          </p:sp>
          <p:sp>
            <p:nvSpPr>
              <p:cNvPr id="29722" name="Text Box 963"/>
              <p:cNvSpPr txBox="1">
                <a:spLocks noChangeArrowheads="1"/>
              </p:cNvSpPr>
              <p:nvPr/>
            </p:nvSpPr>
            <p:spPr bwMode="auto">
              <a:xfrm>
                <a:off x="4207" y="927"/>
                <a:ext cx="374" cy="209"/>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spAutoFit/>
              </a:bodyPr>
              <a:lstStyle>
                <a:lvl1pPr defTabSz="877888" eaLnBrk="0" hangingPunct="0">
                  <a:defRPr sz="1200" b="1">
                    <a:solidFill>
                      <a:schemeClr val="tx1"/>
                    </a:solidFill>
                    <a:latin typeface="微软雅黑" pitchFamily="34" charset="-122"/>
                    <a:ea typeface="微软雅黑" pitchFamily="34" charset="-122"/>
                  </a:defRPr>
                </a:lvl1pPr>
                <a:lvl2pPr marL="742950" indent="-285750" defTabSz="877888" eaLnBrk="0" hangingPunct="0">
                  <a:defRPr sz="1200" b="1">
                    <a:solidFill>
                      <a:schemeClr val="tx1"/>
                    </a:solidFill>
                    <a:latin typeface="微软雅黑" pitchFamily="34" charset="-122"/>
                    <a:ea typeface="微软雅黑" pitchFamily="34" charset="-122"/>
                  </a:defRPr>
                </a:lvl2pPr>
                <a:lvl3pPr marL="1143000" indent="-228600" defTabSz="877888" eaLnBrk="0" hangingPunct="0">
                  <a:defRPr sz="1200" b="1">
                    <a:solidFill>
                      <a:schemeClr val="tx1"/>
                    </a:solidFill>
                    <a:latin typeface="微软雅黑" pitchFamily="34" charset="-122"/>
                    <a:ea typeface="微软雅黑" pitchFamily="34" charset="-122"/>
                  </a:defRPr>
                </a:lvl3pPr>
                <a:lvl4pPr marL="1600200" indent="-228600" defTabSz="877888" eaLnBrk="0" hangingPunct="0">
                  <a:defRPr sz="1200" b="1">
                    <a:solidFill>
                      <a:schemeClr val="tx1"/>
                    </a:solidFill>
                    <a:latin typeface="微软雅黑" pitchFamily="34" charset="-122"/>
                    <a:ea typeface="微软雅黑" pitchFamily="34" charset="-122"/>
                  </a:defRPr>
                </a:lvl4pPr>
                <a:lvl5pPr marL="2057400" indent="-228600" defTabSz="877888" eaLnBrk="0" hangingPunct="0">
                  <a:defRPr sz="1200" b="1">
                    <a:solidFill>
                      <a:schemeClr val="tx1"/>
                    </a:solidFill>
                    <a:latin typeface="微软雅黑" pitchFamily="34" charset="-122"/>
                    <a:ea typeface="微软雅黑" pitchFamily="34" charset="-122"/>
                  </a:defRPr>
                </a:lvl5pPr>
                <a:lvl6pPr marL="25146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lnSpc>
                    <a:spcPct val="110000"/>
                  </a:lnSpc>
                  <a:buClr>
                    <a:schemeClr val="bg1"/>
                  </a:buClr>
                  <a:buFont typeface="Wingdings" pitchFamily="2" charset="2"/>
                  <a:buNone/>
                </a:pPr>
                <a:r>
                  <a:rPr lang="zh-CN" altLang="en-US" sz="1000">
                    <a:latin typeface="Arial" pitchFamily="34" charset="0"/>
                    <a:ea typeface="华文细黑" pitchFamily="2" charset="-122"/>
                  </a:rPr>
                  <a:t>服务器</a:t>
                </a:r>
              </a:p>
            </p:txBody>
          </p:sp>
          <p:sp>
            <p:nvSpPr>
              <p:cNvPr id="29723" name="Text Box 964"/>
              <p:cNvSpPr txBox="1">
                <a:spLocks noChangeArrowheads="1"/>
              </p:cNvSpPr>
              <p:nvPr/>
            </p:nvSpPr>
            <p:spPr bwMode="auto">
              <a:xfrm>
                <a:off x="4207" y="1588"/>
                <a:ext cx="289" cy="346"/>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spAutoFit/>
              </a:bodyPr>
              <a:lstStyle>
                <a:lvl1pPr defTabSz="877888" eaLnBrk="0" hangingPunct="0">
                  <a:defRPr sz="1200" b="1">
                    <a:solidFill>
                      <a:schemeClr val="tx1"/>
                    </a:solidFill>
                    <a:latin typeface="微软雅黑" pitchFamily="34" charset="-122"/>
                    <a:ea typeface="微软雅黑" pitchFamily="34" charset="-122"/>
                  </a:defRPr>
                </a:lvl1pPr>
                <a:lvl2pPr marL="742950" indent="-285750" defTabSz="877888" eaLnBrk="0" hangingPunct="0">
                  <a:defRPr sz="1200" b="1">
                    <a:solidFill>
                      <a:schemeClr val="tx1"/>
                    </a:solidFill>
                    <a:latin typeface="微软雅黑" pitchFamily="34" charset="-122"/>
                    <a:ea typeface="微软雅黑" pitchFamily="34" charset="-122"/>
                  </a:defRPr>
                </a:lvl2pPr>
                <a:lvl3pPr marL="1143000" indent="-228600" defTabSz="877888" eaLnBrk="0" hangingPunct="0">
                  <a:defRPr sz="1200" b="1">
                    <a:solidFill>
                      <a:schemeClr val="tx1"/>
                    </a:solidFill>
                    <a:latin typeface="微软雅黑" pitchFamily="34" charset="-122"/>
                    <a:ea typeface="微软雅黑" pitchFamily="34" charset="-122"/>
                  </a:defRPr>
                </a:lvl3pPr>
                <a:lvl4pPr marL="1600200" indent="-228600" defTabSz="877888" eaLnBrk="0" hangingPunct="0">
                  <a:defRPr sz="1200" b="1">
                    <a:solidFill>
                      <a:schemeClr val="tx1"/>
                    </a:solidFill>
                    <a:latin typeface="微软雅黑" pitchFamily="34" charset="-122"/>
                    <a:ea typeface="微软雅黑" pitchFamily="34" charset="-122"/>
                  </a:defRPr>
                </a:lvl4pPr>
                <a:lvl5pPr marL="2057400" indent="-228600" defTabSz="877888" eaLnBrk="0" hangingPunct="0">
                  <a:defRPr sz="1200" b="1">
                    <a:solidFill>
                      <a:schemeClr val="tx1"/>
                    </a:solidFill>
                    <a:latin typeface="微软雅黑" pitchFamily="34" charset="-122"/>
                    <a:ea typeface="微软雅黑" pitchFamily="34" charset="-122"/>
                  </a:defRPr>
                </a:lvl5pPr>
                <a:lvl6pPr marL="25146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defTabSz="877888"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lnSpc>
                    <a:spcPct val="110000"/>
                  </a:lnSpc>
                  <a:buClr>
                    <a:schemeClr val="bg1"/>
                  </a:buClr>
                  <a:buFont typeface="Wingdings" pitchFamily="2" charset="2"/>
                  <a:buNone/>
                </a:pPr>
                <a:r>
                  <a:rPr lang="zh-CN" altLang="en-US" sz="1000">
                    <a:latin typeface="Arial" pitchFamily="34" charset="0"/>
                    <a:ea typeface="华文细黑" pitchFamily="2" charset="-122"/>
                  </a:rPr>
                  <a:t>磁盘</a:t>
                </a:r>
              </a:p>
              <a:p>
                <a:pPr eaLnBrk="1" hangingPunct="1">
                  <a:lnSpc>
                    <a:spcPct val="110000"/>
                  </a:lnSpc>
                  <a:buClr>
                    <a:schemeClr val="bg1"/>
                  </a:buClr>
                  <a:buFont typeface="Wingdings" pitchFamily="2" charset="2"/>
                  <a:buNone/>
                </a:pPr>
                <a:r>
                  <a:rPr lang="zh-CN" altLang="en-US" sz="1000">
                    <a:latin typeface="Arial" pitchFamily="34" charset="0"/>
                    <a:ea typeface="华文细黑" pitchFamily="2" charset="-122"/>
                  </a:rPr>
                  <a:t>阵列</a:t>
                </a:r>
              </a:p>
            </p:txBody>
          </p:sp>
          <p:sp>
            <p:nvSpPr>
              <p:cNvPr id="29724" name="AutoShape 965"/>
              <p:cNvSpPr>
                <a:spLocks noChangeArrowheads="1"/>
              </p:cNvSpPr>
              <p:nvPr/>
            </p:nvSpPr>
            <p:spPr bwMode="auto">
              <a:xfrm rot="10800000">
                <a:off x="4706" y="1134"/>
                <a:ext cx="408" cy="181"/>
              </a:xfrm>
              <a:prstGeom prst="triangle">
                <a:avLst>
                  <a:gd name="adj" fmla="val 28676"/>
                </a:avLst>
              </a:prstGeom>
              <a:solidFill>
                <a:srgbClr val="FF0000">
                  <a:alpha val="2509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29726" name="AutoShape 967"/>
              <p:cNvSpPr>
                <a:spLocks noChangeArrowheads="1"/>
              </p:cNvSpPr>
              <p:nvPr/>
            </p:nvSpPr>
            <p:spPr bwMode="auto">
              <a:xfrm>
                <a:off x="4751" y="1542"/>
                <a:ext cx="363" cy="182"/>
              </a:xfrm>
              <a:prstGeom prst="triangle">
                <a:avLst>
                  <a:gd name="adj" fmla="val 22796"/>
                </a:avLst>
              </a:prstGeom>
              <a:solidFill>
                <a:srgbClr val="01BCFF">
                  <a:alpha val="2509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29727" name="AutoShape 968"/>
              <p:cNvSpPr>
                <a:spLocks noChangeArrowheads="1"/>
              </p:cNvSpPr>
              <p:nvPr/>
            </p:nvSpPr>
            <p:spPr bwMode="auto">
              <a:xfrm>
                <a:off x="5024" y="1542"/>
                <a:ext cx="362" cy="182"/>
              </a:xfrm>
              <a:prstGeom prst="triangle">
                <a:avLst>
                  <a:gd name="adj" fmla="val 22796"/>
                </a:avLst>
              </a:prstGeom>
              <a:solidFill>
                <a:srgbClr val="FF0000">
                  <a:alpha val="2509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29728" name="AutoShape 969"/>
              <p:cNvSpPr>
                <a:spLocks noChangeArrowheads="1"/>
              </p:cNvSpPr>
              <p:nvPr/>
            </p:nvSpPr>
            <p:spPr bwMode="auto">
              <a:xfrm>
                <a:off x="5386" y="1542"/>
                <a:ext cx="408" cy="182"/>
              </a:xfrm>
              <a:prstGeom prst="triangle">
                <a:avLst>
                  <a:gd name="adj" fmla="val 22796"/>
                </a:avLst>
              </a:prstGeom>
              <a:solidFill>
                <a:srgbClr val="FFCC00">
                  <a:alpha val="25098"/>
                </a:srgbClr>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grpSp>
        <p:sp>
          <p:nvSpPr>
            <p:cNvPr id="29710" name="Rectangle 970"/>
            <p:cNvSpPr>
              <a:spLocks noChangeArrowheads="1"/>
            </p:cNvSpPr>
            <p:nvPr/>
          </p:nvSpPr>
          <p:spPr bwMode="auto">
            <a:xfrm>
              <a:off x="4252" y="771"/>
              <a:ext cx="1860" cy="1225"/>
            </a:xfrm>
            <a:prstGeom prst="rect">
              <a:avLst/>
            </a:prstGeom>
            <a:noFill/>
            <a:ln w="15875" algn="ctr">
              <a:solidFill>
                <a:srgbClr val="00CCFF"/>
              </a:solidFill>
              <a:miter lim="800000"/>
              <a:headEnd/>
              <a:tailEnd/>
            </a:ln>
            <a:effectLst/>
            <a:extLst>
              <a:ext uri="{909E8E84-426E-40DD-AFC4-6F175D3DCCD1}">
                <a14:hiddenFill xmlns:a14="http://schemas.microsoft.com/office/drawing/2010/main">
                  <a:solidFill>
                    <a:srgbClr val="01BC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17" tIns="43908" rIns="87817" bIns="43908" anchor="ctr"/>
            <a:lstStyle/>
            <a:p>
              <a:endParaRPr lang="zh-CN" altLang="en-US"/>
            </a:p>
          </p:txBody>
        </p:sp>
        <p:sp>
          <p:nvSpPr>
            <p:cNvPr id="29711" name="Rectangle 971"/>
            <p:cNvSpPr>
              <a:spLocks noChangeArrowheads="1"/>
            </p:cNvSpPr>
            <p:nvPr/>
          </p:nvSpPr>
          <p:spPr bwMode="auto">
            <a:xfrm>
              <a:off x="4547" y="1996"/>
              <a:ext cx="1270" cy="182"/>
            </a:xfrm>
            <a:prstGeom prst="rect">
              <a:avLst/>
            </a:prstGeom>
            <a:noFill/>
            <a:ln>
              <a:noFill/>
            </a:ln>
            <a:effectLst/>
            <a:extLst>
              <a:ext uri="{909E8E84-426E-40DD-AFC4-6F175D3DCCD1}">
                <a14:hiddenFill xmlns:a14="http://schemas.microsoft.com/office/drawing/2010/main">
                  <a:solidFill>
                    <a:srgbClr val="01BC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817" tIns="43908" rIns="87817" bIns="43908" anchor="ctr"/>
            <a:lstStyle/>
            <a:p>
              <a:pPr algn="ctr" defTabSz="877888">
                <a:lnSpc>
                  <a:spcPct val="110000"/>
                </a:lnSpc>
                <a:buClr>
                  <a:schemeClr val="bg1"/>
                </a:buClr>
                <a:buFont typeface="Wingdings" pitchFamily="2" charset="2"/>
                <a:buNone/>
              </a:pPr>
              <a:r>
                <a:rPr lang="zh-CN" altLang="en-US">
                  <a:latin typeface="Arial" pitchFamily="34" charset="0"/>
                  <a:ea typeface="华文细黑" pitchFamily="2" charset="-122"/>
                </a:rPr>
                <a:t>基于存储网络的虚拟化</a:t>
              </a:r>
            </a:p>
          </p:txBody>
        </p:sp>
      </p:grpSp>
      <p:sp>
        <p:nvSpPr>
          <p:cNvPr id="29707" name="Rectangle 972"/>
          <p:cNvSpPr>
            <a:spLocks noChangeArrowheads="1"/>
          </p:cNvSpPr>
          <p:nvPr/>
        </p:nvSpPr>
        <p:spPr bwMode="auto">
          <a:xfrm>
            <a:off x="3168650" y="4025900"/>
            <a:ext cx="2916238" cy="295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spcBef>
                <a:spcPct val="20000"/>
              </a:spcBef>
              <a:buFont typeface="Verdana" pitchFamily="34" charset="0"/>
              <a:buChar char="▪"/>
            </a:pPr>
            <a:r>
              <a:rPr lang="zh-CN" altLang="en-US" sz="1400">
                <a:latin typeface="Verdana" pitchFamily="34" charset="0"/>
              </a:rPr>
              <a:t>实现方式：在存储控制器上添加虚拟化功能，常见于中高端存储设备</a:t>
            </a:r>
          </a:p>
          <a:p>
            <a:pPr marL="342900" indent="-342900">
              <a:spcBef>
                <a:spcPct val="20000"/>
              </a:spcBef>
              <a:buFont typeface="Verdana" pitchFamily="34" charset="0"/>
              <a:buChar char="▪"/>
            </a:pPr>
            <a:r>
              <a:rPr lang="zh-CN" altLang="en-US" sz="1400">
                <a:latin typeface="Verdana" pitchFamily="34" charset="0"/>
              </a:rPr>
              <a:t>优点是不占主机资源，技术成熟度高，缺点是消耗存储控制器的资源；异构厂家盘阵的高级存储功能将不能使用</a:t>
            </a:r>
          </a:p>
          <a:p>
            <a:pPr marL="342900" indent="-342900">
              <a:spcBef>
                <a:spcPct val="20000"/>
              </a:spcBef>
              <a:buFont typeface="Verdana" pitchFamily="34" charset="0"/>
              <a:buChar char="▪"/>
            </a:pPr>
            <a:r>
              <a:rPr lang="zh-CN" altLang="en-US" sz="1400">
                <a:latin typeface="Verdana" pitchFamily="34" charset="0"/>
              </a:rPr>
              <a:t>代表产品：</a:t>
            </a:r>
            <a:r>
              <a:rPr lang="en-US" altLang="zh-CN" sz="1400">
                <a:latin typeface="Verdana" pitchFamily="34" charset="0"/>
              </a:rPr>
              <a:t>HP USPV</a:t>
            </a:r>
          </a:p>
          <a:p>
            <a:pPr marL="342900" indent="-342900">
              <a:spcBef>
                <a:spcPct val="20000"/>
              </a:spcBef>
              <a:buFont typeface="Verdana" pitchFamily="34" charset="0"/>
              <a:buChar char="▪"/>
            </a:pPr>
            <a:endParaRPr lang="zh-CN" altLang="en-US" sz="1400">
              <a:latin typeface="Verdana" pitchFamily="34" charset="0"/>
            </a:endParaRPr>
          </a:p>
        </p:txBody>
      </p:sp>
      <p:sp>
        <p:nvSpPr>
          <p:cNvPr id="29708" name="Rectangle 973"/>
          <p:cNvSpPr>
            <a:spLocks noChangeArrowheads="1"/>
          </p:cNvSpPr>
          <p:nvPr/>
        </p:nvSpPr>
        <p:spPr bwMode="auto">
          <a:xfrm>
            <a:off x="6192838" y="4025900"/>
            <a:ext cx="2916237" cy="295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spcBef>
                <a:spcPct val="20000"/>
              </a:spcBef>
              <a:buFont typeface="Verdana" pitchFamily="34" charset="0"/>
              <a:buChar char="▪"/>
            </a:pPr>
            <a:r>
              <a:rPr lang="zh-CN" altLang="en-US" sz="1400">
                <a:latin typeface="Verdana" pitchFamily="34" charset="0"/>
              </a:rPr>
              <a:t>实现方式：通过在存储域网（</a:t>
            </a:r>
            <a:r>
              <a:rPr lang="en-US" altLang="zh-CN" sz="1400">
                <a:latin typeface="Verdana" pitchFamily="34" charset="0"/>
              </a:rPr>
              <a:t>SAN</a:t>
            </a:r>
            <a:r>
              <a:rPr lang="zh-CN" altLang="en-US" sz="1400">
                <a:latin typeface="Verdana" pitchFamily="34" charset="0"/>
              </a:rPr>
              <a:t>）中添加虚拟化引擎实现</a:t>
            </a:r>
          </a:p>
          <a:p>
            <a:pPr marL="342900" indent="-342900">
              <a:spcBef>
                <a:spcPct val="20000"/>
              </a:spcBef>
              <a:buFont typeface="Verdana" pitchFamily="34" charset="0"/>
              <a:buChar char="▪"/>
            </a:pPr>
            <a:r>
              <a:rPr lang="zh-CN" altLang="en-US" sz="1400">
                <a:latin typeface="Verdana" pitchFamily="34" charset="0"/>
              </a:rPr>
              <a:t>优点是架构合理，不占用主机和设备资源，缺点是存储阵列的兼容性需要严格验证，原有盘阵的高级存储功能将不能使用高</a:t>
            </a:r>
          </a:p>
          <a:p>
            <a:pPr marL="342900" indent="-342900">
              <a:spcBef>
                <a:spcPct val="20000"/>
              </a:spcBef>
              <a:buFont typeface="Verdana" pitchFamily="34" charset="0"/>
              <a:buChar char="▪"/>
            </a:pPr>
            <a:r>
              <a:rPr lang="zh-CN" altLang="en-US" sz="1400">
                <a:latin typeface="Verdana" pitchFamily="34" charset="0"/>
              </a:rPr>
              <a:t>代表产品：</a:t>
            </a:r>
            <a:r>
              <a:rPr lang="en-US" altLang="zh-CN" sz="1400">
                <a:latin typeface="Verdana" pitchFamily="34" charset="0"/>
              </a:rPr>
              <a:t>IBM SVC</a:t>
            </a:r>
            <a:r>
              <a:rPr lang="zh-CN" altLang="en-US" sz="1400">
                <a:latin typeface="Verdana" pitchFamily="34" charset="0"/>
              </a:rPr>
              <a:t>，</a:t>
            </a:r>
            <a:r>
              <a:rPr lang="en-US" altLang="zh-CN" sz="1400">
                <a:latin typeface="Verdana" pitchFamily="34" charset="0"/>
              </a:rPr>
              <a:t>EMC VPlex</a:t>
            </a:r>
            <a:r>
              <a:rPr lang="zh-CN" altLang="en-US" sz="1400">
                <a:latin typeface="Verdana" pitchFamily="34" charset="0"/>
              </a:rPr>
              <a:t>，</a:t>
            </a:r>
            <a:r>
              <a:rPr lang="en-US" altLang="zh-CN" sz="1400">
                <a:latin typeface="Verdana" pitchFamily="34" charset="0"/>
              </a:rPr>
              <a:t>HP SVSP</a:t>
            </a:r>
          </a:p>
          <a:p>
            <a:pPr marL="342900" indent="-342900">
              <a:spcBef>
                <a:spcPct val="20000"/>
              </a:spcBef>
              <a:buFont typeface="Verdana" pitchFamily="34" charset="0"/>
              <a:buChar char="▪"/>
            </a:pPr>
            <a:endParaRPr lang="zh-CN" altLang="en-US" sz="1400">
              <a:latin typeface="Verdana" pitchFamily="34" charset="0"/>
            </a:endParaRP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标题 1"/>
          <p:cNvSpPr>
            <a:spLocks/>
          </p:cNvSpPr>
          <p:nvPr/>
        </p:nvSpPr>
        <p:spPr bwMode="auto">
          <a:xfrm>
            <a:off x="-36513" y="22225"/>
            <a:ext cx="8086726"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2800">
                <a:solidFill>
                  <a:schemeClr val="bg1"/>
                </a:solidFill>
                <a:latin typeface="Tahoma" pitchFamily="34" charset="0"/>
                <a:cs typeface="Tahoma" pitchFamily="34" charset="0"/>
              </a:rPr>
              <a:t>存储虚拟化技术适用原则</a:t>
            </a:r>
          </a:p>
        </p:txBody>
      </p:sp>
      <p:grpSp>
        <p:nvGrpSpPr>
          <p:cNvPr id="30723" name="Group 3"/>
          <p:cNvGrpSpPr>
            <a:grpSpLocks/>
          </p:cNvGrpSpPr>
          <p:nvPr/>
        </p:nvGrpSpPr>
        <p:grpSpPr bwMode="auto">
          <a:xfrm>
            <a:off x="7310438" y="188913"/>
            <a:ext cx="1582737" cy="747712"/>
            <a:chOff x="1429" y="2341"/>
            <a:chExt cx="2993" cy="1270"/>
          </a:xfrm>
        </p:grpSpPr>
        <p:sp>
          <p:nvSpPr>
            <p:cNvPr id="30730" name="矩形 33"/>
            <p:cNvSpPr>
              <a:spLocks noChangeArrowheads="1"/>
            </p:cNvSpPr>
            <p:nvPr/>
          </p:nvSpPr>
          <p:spPr bwMode="auto">
            <a:xfrm>
              <a:off x="1429" y="2341"/>
              <a:ext cx="1406" cy="350"/>
            </a:xfrm>
            <a:prstGeom prst="rect">
              <a:avLst/>
            </a:prstGeom>
            <a:solidFill>
              <a:srgbClr val="CCFFCC"/>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0731" name="矩形 46"/>
            <p:cNvSpPr>
              <a:spLocks noChangeArrowheads="1"/>
            </p:cNvSpPr>
            <p:nvPr/>
          </p:nvSpPr>
          <p:spPr bwMode="auto">
            <a:xfrm>
              <a:off x="3787" y="2341"/>
              <a:ext cx="635" cy="1270"/>
            </a:xfrm>
            <a:prstGeom prst="rect">
              <a:avLst/>
            </a:prstGeom>
            <a:solidFill>
              <a:srgbClr val="CC99FF"/>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0732" name="矩形 33"/>
            <p:cNvSpPr>
              <a:spLocks noChangeArrowheads="1"/>
            </p:cNvSpPr>
            <p:nvPr/>
          </p:nvSpPr>
          <p:spPr bwMode="auto">
            <a:xfrm>
              <a:off x="1445" y="2795"/>
              <a:ext cx="1406" cy="350"/>
            </a:xfrm>
            <a:prstGeom prst="rect">
              <a:avLst/>
            </a:prstGeom>
            <a:solidFill>
              <a:srgbClr val="CCFFFF"/>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0733" name="矩形 33"/>
            <p:cNvSpPr>
              <a:spLocks noChangeArrowheads="1"/>
            </p:cNvSpPr>
            <p:nvPr/>
          </p:nvSpPr>
          <p:spPr bwMode="auto">
            <a:xfrm>
              <a:off x="1450" y="3249"/>
              <a:ext cx="1270" cy="350"/>
            </a:xfrm>
            <a:prstGeom prst="rect">
              <a:avLst/>
            </a:prstGeom>
            <a:solidFill>
              <a:srgbClr val="FF0000"/>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0734" name="矩形 33"/>
            <p:cNvSpPr>
              <a:spLocks noChangeArrowheads="1"/>
            </p:cNvSpPr>
            <p:nvPr/>
          </p:nvSpPr>
          <p:spPr bwMode="auto">
            <a:xfrm>
              <a:off x="2789" y="3249"/>
              <a:ext cx="908" cy="350"/>
            </a:xfrm>
            <a:prstGeom prst="rect">
              <a:avLst/>
            </a:prstGeom>
            <a:solidFill>
              <a:srgbClr val="FFFFCC"/>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0735" name="矩形 33"/>
            <p:cNvSpPr>
              <a:spLocks noChangeArrowheads="1"/>
            </p:cNvSpPr>
            <p:nvPr/>
          </p:nvSpPr>
          <p:spPr bwMode="auto">
            <a:xfrm>
              <a:off x="2925" y="2341"/>
              <a:ext cx="771" cy="817"/>
            </a:xfrm>
            <a:prstGeom prst="rect">
              <a:avLst/>
            </a:prstGeom>
            <a:solidFill>
              <a:srgbClr val="99CCFF"/>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grpSp>
      <p:sp>
        <p:nvSpPr>
          <p:cNvPr id="30724" name="AutoShape 42"/>
          <p:cNvSpPr>
            <a:spLocks noChangeArrowheads="1"/>
          </p:cNvSpPr>
          <p:nvPr/>
        </p:nvSpPr>
        <p:spPr bwMode="gray">
          <a:xfrm>
            <a:off x="611188" y="1243013"/>
            <a:ext cx="7820025" cy="366712"/>
          </a:xfrm>
          <a:prstGeom prst="rect">
            <a:avLst/>
          </a:prstGeom>
          <a:solidFill>
            <a:srgbClr val="6666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r>
              <a:rPr lang="zh-CN" altLang="en-US">
                <a:solidFill>
                  <a:schemeClr val="bg1"/>
                </a:solidFill>
                <a:latin typeface="华文细黑" pitchFamily="2" charset="-122"/>
                <a:ea typeface="华文细黑" pitchFamily="2" charset="-122"/>
              </a:rPr>
              <a:t>基于主机的虚拟化方案</a:t>
            </a:r>
          </a:p>
        </p:txBody>
      </p:sp>
      <p:sp>
        <p:nvSpPr>
          <p:cNvPr id="12" name="矩形 11"/>
          <p:cNvSpPr/>
          <p:nvPr/>
        </p:nvSpPr>
        <p:spPr>
          <a:xfrm>
            <a:off x="611188" y="1597025"/>
            <a:ext cx="7820025" cy="1590675"/>
          </a:xfrm>
          <a:prstGeom prst="rect">
            <a:avLst/>
          </a:prstGeom>
          <a:gradFill rotWithShape="1">
            <a:gsLst>
              <a:gs pos="0">
                <a:srgbClr val="DDDDDD"/>
              </a:gs>
              <a:gs pos="50000">
                <a:srgbClr val="DDDDDD">
                  <a:gamma/>
                  <a:tint val="33333"/>
                  <a:invGamma/>
                </a:srgbClr>
              </a:gs>
              <a:gs pos="100000">
                <a:srgbClr val="DDDDDD"/>
              </a:gs>
            </a:gsLst>
            <a:lin ang="2700000" scaled="1"/>
          </a:gradFill>
          <a:ln w="3175">
            <a:solidFill>
              <a:schemeClr val="bg1">
                <a:lumMod val="65000"/>
              </a:schemeClr>
            </a:solidFill>
            <a:prstDash val="dash"/>
            <a:miter lim="800000"/>
            <a:headEnd/>
            <a:tailEnd/>
          </a:ln>
          <a:effectLst/>
        </p:spPr>
        <p:txBody>
          <a:bodyPr anchor="ctr"/>
          <a:lstStyle/>
          <a:p>
            <a:pPr marL="357188" indent="-357188">
              <a:buFont typeface="Wingdings" pitchFamily="2" charset="2"/>
              <a:buChar char="Ø"/>
              <a:defRPr/>
            </a:pPr>
            <a:r>
              <a:rPr lang="zh-CN" altLang="zh-CN" sz="1800">
                <a:solidFill>
                  <a:srgbClr val="1C1C1C"/>
                </a:solidFill>
                <a:latin typeface="华文细黑" pitchFamily="2" charset="-122"/>
                <a:ea typeface="华文细黑" pitchFamily="2" charset="-122"/>
              </a:rPr>
              <a:t>对现有硬件架构没有变动，适于对</a:t>
            </a:r>
            <a:r>
              <a:rPr lang="zh-CN" altLang="zh-CN" sz="1800">
                <a:solidFill>
                  <a:srgbClr val="FF0000"/>
                </a:solidFill>
                <a:latin typeface="华文细黑" pitchFamily="2" charset="-122"/>
                <a:ea typeface="华文细黑" pitchFamily="2" charset="-122"/>
              </a:rPr>
              <a:t>关键应用解决异构互联问题</a:t>
            </a:r>
            <a:r>
              <a:rPr lang="zh-CN" altLang="zh-CN" sz="1800">
                <a:solidFill>
                  <a:srgbClr val="1C1C1C"/>
                </a:solidFill>
                <a:latin typeface="华文细黑" pitchFamily="2" charset="-122"/>
                <a:ea typeface="华文细黑" pitchFamily="2" charset="-122"/>
              </a:rPr>
              <a:t>，由于需要在所有主机上安装管理软件，给后期维护带来一定影响，原有数据迁入必须进行</a:t>
            </a:r>
            <a:r>
              <a:rPr lang="zh-CN" altLang="zh-CN" sz="1800">
                <a:solidFill>
                  <a:srgbClr val="FF0000"/>
                </a:solidFill>
                <a:latin typeface="华文细黑" pitchFamily="2" charset="-122"/>
                <a:ea typeface="华文细黑" pitchFamily="2" charset="-122"/>
              </a:rPr>
              <a:t>格式转换</a:t>
            </a:r>
            <a:r>
              <a:rPr lang="zh-CN" altLang="zh-CN" sz="1800">
                <a:solidFill>
                  <a:srgbClr val="1C1C1C"/>
                </a:solidFill>
                <a:latin typeface="华文细黑" pitchFamily="2" charset="-122"/>
                <a:ea typeface="华文细黑" pitchFamily="2" charset="-122"/>
              </a:rPr>
              <a:t>，实际实施中也需要进行充分风险评估；测试环境中采用时，必须与业务支撑生产环境保持一致性，需要考虑现网主机是否使用SF方案</a:t>
            </a:r>
            <a:endParaRPr lang="zh-CN" altLang="en-US" sz="1800">
              <a:solidFill>
                <a:srgbClr val="1C1C1C"/>
              </a:solidFill>
              <a:latin typeface="华文细黑" pitchFamily="2" charset="-122"/>
              <a:ea typeface="华文细黑" pitchFamily="2" charset="-122"/>
            </a:endParaRPr>
          </a:p>
        </p:txBody>
      </p:sp>
      <p:sp>
        <p:nvSpPr>
          <p:cNvPr id="30726" name="AutoShape 42"/>
          <p:cNvSpPr>
            <a:spLocks noChangeArrowheads="1"/>
          </p:cNvSpPr>
          <p:nvPr/>
        </p:nvSpPr>
        <p:spPr bwMode="gray">
          <a:xfrm>
            <a:off x="611188" y="3192463"/>
            <a:ext cx="7820025" cy="366712"/>
          </a:xfrm>
          <a:prstGeom prst="rect">
            <a:avLst/>
          </a:prstGeom>
          <a:solidFill>
            <a:srgbClr val="6666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r>
              <a:rPr lang="zh-CN" altLang="en-US">
                <a:solidFill>
                  <a:schemeClr val="bg1"/>
                </a:solidFill>
                <a:latin typeface="华文细黑" pitchFamily="2" charset="-122"/>
                <a:ea typeface="华文细黑" pitchFamily="2" charset="-122"/>
              </a:rPr>
              <a:t>基于网络的虚拟化方案</a:t>
            </a:r>
          </a:p>
        </p:txBody>
      </p:sp>
      <p:sp>
        <p:nvSpPr>
          <p:cNvPr id="7" name="矩形 11"/>
          <p:cNvSpPr/>
          <p:nvPr/>
        </p:nvSpPr>
        <p:spPr>
          <a:xfrm>
            <a:off x="611188" y="3544888"/>
            <a:ext cx="7820025" cy="1298575"/>
          </a:xfrm>
          <a:prstGeom prst="rect">
            <a:avLst/>
          </a:prstGeom>
          <a:gradFill rotWithShape="1">
            <a:gsLst>
              <a:gs pos="0">
                <a:srgbClr val="DDDDDD"/>
              </a:gs>
              <a:gs pos="50000">
                <a:srgbClr val="DDDDDD">
                  <a:gamma/>
                  <a:tint val="33333"/>
                  <a:invGamma/>
                </a:srgbClr>
              </a:gs>
              <a:gs pos="100000">
                <a:srgbClr val="DDDDDD"/>
              </a:gs>
            </a:gsLst>
            <a:lin ang="2700000" scaled="1"/>
          </a:gradFill>
          <a:ln w="3175">
            <a:solidFill>
              <a:schemeClr val="bg1">
                <a:lumMod val="65000"/>
              </a:schemeClr>
            </a:solidFill>
            <a:prstDash val="dash"/>
            <a:miter lim="800000"/>
            <a:headEnd/>
            <a:tailEnd/>
          </a:ln>
          <a:effectLst/>
        </p:spPr>
        <p:txBody>
          <a:bodyPr anchor="ctr"/>
          <a:lstStyle/>
          <a:p>
            <a:pPr marL="357188" indent="-357188">
              <a:buFont typeface="Wingdings" pitchFamily="2" charset="2"/>
              <a:buChar char="Ø"/>
              <a:defRPr/>
            </a:pPr>
            <a:r>
              <a:rPr lang="zh-CN" altLang="en-US" sz="1800">
                <a:solidFill>
                  <a:srgbClr val="1C1C1C"/>
                </a:solidFill>
                <a:latin typeface="华文细黑" pitchFamily="2" charset="-122"/>
                <a:ea typeface="华文细黑" pitchFamily="2" charset="-122"/>
              </a:rPr>
              <a:t>适用范围广，</a:t>
            </a:r>
            <a:r>
              <a:rPr lang="zh-CN" altLang="en-US" sz="1800">
                <a:solidFill>
                  <a:srgbClr val="FF0000"/>
                </a:solidFill>
                <a:latin typeface="华文细黑" pitchFamily="2" charset="-122"/>
                <a:ea typeface="华文细黑" pitchFamily="2" charset="-122"/>
              </a:rPr>
              <a:t>提供产品的厂家最多</a:t>
            </a:r>
            <a:r>
              <a:rPr lang="zh-CN" altLang="en-US" sz="1800">
                <a:solidFill>
                  <a:srgbClr val="1C1C1C"/>
                </a:solidFill>
                <a:latin typeface="华文细黑" pitchFamily="2" charset="-122"/>
                <a:ea typeface="华文细黑" pitchFamily="2" charset="-122"/>
              </a:rPr>
              <a:t>，网络层虚拟化架构最为合理，但由于引入新的硬件设施，会带来</a:t>
            </a:r>
            <a:r>
              <a:rPr lang="zh-CN" altLang="en-US" sz="1800">
                <a:solidFill>
                  <a:srgbClr val="FF0000"/>
                </a:solidFill>
                <a:latin typeface="华文细黑" pitchFamily="2" charset="-122"/>
                <a:ea typeface="华文细黑" pitchFamily="2" charset="-122"/>
              </a:rPr>
              <a:t>新的故障点</a:t>
            </a:r>
            <a:r>
              <a:rPr lang="zh-CN" altLang="en-US" sz="1800">
                <a:solidFill>
                  <a:srgbClr val="1C1C1C"/>
                </a:solidFill>
                <a:latin typeface="华文细黑" pitchFamily="2" charset="-122"/>
                <a:ea typeface="华文细黑" pitchFamily="2" charset="-122"/>
              </a:rPr>
              <a:t>和转发性能开销，在对性能要求苛刻的场景需要充分评估</a:t>
            </a:r>
          </a:p>
        </p:txBody>
      </p:sp>
      <p:sp>
        <p:nvSpPr>
          <p:cNvPr id="30728" name="AutoShape 42"/>
          <p:cNvSpPr>
            <a:spLocks noChangeArrowheads="1"/>
          </p:cNvSpPr>
          <p:nvPr/>
        </p:nvSpPr>
        <p:spPr bwMode="gray">
          <a:xfrm>
            <a:off x="611188" y="4849813"/>
            <a:ext cx="7820025" cy="366712"/>
          </a:xfrm>
          <a:prstGeom prst="rect">
            <a:avLst/>
          </a:prstGeom>
          <a:solidFill>
            <a:srgbClr val="6666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r>
              <a:rPr lang="zh-CN" altLang="en-US">
                <a:solidFill>
                  <a:schemeClr val="bg1"/>
                </a:solidFill>
                <a:latin typeface="华文细黑" pitchFamily="2" charset="-122"/>
                <a:ea typeface="华文细黑" pitchFamily="2" charset="-122"/>
              </a:rPr>
              <a:t>基于设备的虚拟化方案</a:t>
            </a:r>
          </a:p>
        </p:txBody>
      </p:sp>
      <p:sp>
        <p:nvSpPr>
          <p:cNvPr id="9" name="矩形 11"/>
          <p:cNvSpPr/>
          <p:nvPr/>
        </p:nvSpPr>
        <p:spPr>
          <a:xfrm>
            <a:off x="611188" y="5203825"/>
            <a:ext cx="7820025" cy="1511300"/>
          </a:xfrm>
          <a:prstGeom prst="rect">
            <a:avLst/>
          </a:prstGeom>
          <a:gradFill rotWithShape="1">
            <a:gsLst>
              <a:gs pos="0">
                <a:srgbClr val="DDDDDD"/>
              </a:gs>
              <a:gs pos="50000">
                <a:srgbClr val="DDDDDD">
                  <a:gamma/>
                  <a:tint val="33333"/>
                  <a:invGamma/>
                </a:srgbClr>
              </a:gs>
              <a:gs pos="100000">
                <a:srgbClr val="DDDDDD"/>
              </a:gs>
            </a:gsLst>
            <a:lin ang="2700000" scaled="1"/>
          </a:gradFill>
          <a:ln w="3175">
            <a:solidFill>
              <a:schemeClr val="bg1">
                <a:lumMod val="65000"/>
              </a:schemeClr>
            </a:solidFill>
            <a:prstDash val="dash"/>
            <a:miter lim="800000"/>
            <a:headEnd/>
            <a:tailEnd/>
          </a:ln>
          <a:effectLst/>
        </p:spPr>
        <p:txBody>
          <a:bodyPr anchor="ctr"/>
          <a:lstStyle/>
          <a:p>
            <a:pPr marL="357188" indent="-357188">
              <a:buFont typeface="Wingdings" pitchFamily="2" charset="2"/>
              <a:buChar char="Ø"/>
              <a:defRPr/>
            </a:pPr>
            <a:r>
              <a:rPr lang="zh-CN" altLang="en-US" sz="1800">
                <a:solidFill>
                  <a:srgbClr val="1C1C1C"/>
                </a:solidFill>
                <a:latin typeface="华文细黑" pitchFamily="2" charset="-122"/>
                <a:ea typeface="华文细黑" pitchFamily="2" charset="-122"/>
              </a:rPr>
              <a:t>虚拟化技术成熟，应用风险小，被整合的存储设备容易地继承存储虚拟化阵列一些固有的高级功能，如快照、克隆、复制、分区、精简配置等等，但方案</a:t>
            </a:r>
            <a:r>
              <a:rPr lang="zh-CN" altLang="en-US" sz="1800">
                <a:solidFill>
                  <a:srgbClr val="FF0000"/>
                </a:solidFill>
                <a:latin typeface="华文细黑" pitchFamily="2" charset="-122"/>
                <a:ea typeface="华文细黑" pitchFamily="2" charset="-122"/>
              </a:rPr>
              <a:t>需要支持</a:t>
            </a:r>
            <a:r>
              <a:rPr lang="en-US" altLang="zh-CN" sz="1800">
                <a:solidFill>
                  <a:srgbClr val="FF0000"/>
                </a:solidFill>
                <a:latin typeface="华文细黑" pitchFamily="2" charset="-122"/>
                <a:ea typeface="华文细黑" pitchFamily="2" charset="-122"/>
              </a:rPr>
              <a:t>USPV</a:t>
            </a:r>
            <a:r>
              <a:rPr lang="zh-CN" altLang="en-US" sz="1800">
                <a:solidFill>
                  <a:srgbClr val="FF0000"/>
                </a:solidFill>
                <a:latin typeface="华文细黑" pitchFamily="2" charset="-122"/>
                <a:ea typeface="华文细黑" pitchFamily="2" charset="-122"/>
              </a:rPr>
              <a:t>技术的机头</a:t>
            </a:r>
            <a:r>
              <a:rPr lang="zh-CN" altLang="en-US" sz="1800">
                <a:solidFill>
                  <a:srgbClr val="1C1C1C"/>
                </a:solidFill>
                <a:latin typeface="华文细黑" pitchFamily="2" charset="-122"/>
                <a:ea typeface="华文细黑" pitchFamily="2" charset="-122"/>
              </a:rPr>
              <a:t>支持，扩展性也受机头前端端口数据的限制，现有系统中有支持</a:t>
            </a:r>
            <a:r>
              <a:rPr lang="en-US" altLang="zh-CN" sz="1800">
                <a:solidFill>
                  <a:srgbClr val="1C1C1C"/>
                </a:solidFill>
                <a:latin typeface="华文细黑" pitchFamily="2" charset="-122"/>
                <a:ea typeface="华文细黑" pitchFamily="2" charset="-122"/>
              </a:rPr>
              <a:t>USPV</a:t>
            </a:r>
            <a:r>
              <a:rPr lang="zh-CN" altLang="en-US" sz="1800">
                <a:solidFill>
                  <a:srgbClr val="1C1C1C"/>
                </a:solidFill>
                <a:latin typeface="华文细黑" pitchFamily="2" charset="-122"/>
                <a:ea typeface="华文细黑" pitchFamily="2" charset="-122"/>
              </a:rPr>
              <a:t>的高端存储机头可以考虑采用</a:t>
            </a:r>
          </a:p>
        </p:txBody>
      </p:sp>
    </p:spTree>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标题 1"/>
          <p:cNvSpPr>
            <a:spLocks noGrp="1"/>
          </p:cNvSpPr>
          <p:nvPr>
            <p:ph type="title"/>
          </p:nvPr>
        </p:nvSpPr>
        <p:spPr>
          <a:xfrm>
            <a:off x="0" y="15875"/>
            <a:ext cx="8201025" cy="460375"/>
          </a:xfrm>
        </p:spPr>
        <p:txBody>
          <a:bodyPr/>
          <a:lstStyle/>
          <a:p>
            <a:r>
              <a:rPr lang="zh-CN" altLang="en-US" smtClean="0"/>
              <a:t>云计算基础设施关键技术</a:t>
            </a:r>
            <a:r>
              <a:rPr lang="en-US" altLang="zh-CN" smtClean="0"/>
              <a:t>——</a:t>
            </a:r>
            <a:r>
              <a:rPr lang="zh-CN" altLang="en-US" smtClean="0"/>
              <a:t>网络技术</a:t>
            </a:r>
          </a:p>
        </p:txBody>
      </p:sp>
      <p:sp>
        <p:nvSpPr>
          <p:cNvPr id="31747" name="内容占位符 2"/>
          <p:cNvSpPr>
            <a:spLocks noGrp="1"/>
          </p:cNvSpPr>
          <p:nvPr>
            <p:ph idx="1"/>
          </p:nvPr>
        </p:nvSpPr>
        <p:spPr/>
        <p:txBody>
          <a:bodyPr/>
          <a:lstStyle/>
          <a:p>
            <a:r>
              <a:rPr lang="zh-CN" altLang="en-US" b="0" smtClean="0"/>
              <a:t>云可以看作是一个庞大的网络系统。一个云内可以包含数千，甚至上万台服务器，虚拟化技术的普遍采用使实际网络节点的数量更加巨大，因此用于连接云内各个节点（云元）的网络就成为实现高效的计算和存储能力的关键环节之一</a:t>
            </a:r>
            <a:endParaRPr lang="zh-CN" altLang="en-US" smtClean="0"/>
          </a:p>
        </p:txBody>
      </p:sp>
      <p:pic>
        <p:nvPicPr>
          <p:cNvPr id="16389" name="Picture 5"/>
          <p:cNvPicPr>
            <a:picLocks noChangeAspect="1" noChangeArrowheads="1"/>
          </p:cNvPicPr>
          <p:nvPr/>
        </p:nvPicPr>
        <p:blipFill>
          <a:blip r:embed="rId3"/>
          <a:srcRect/>
          <a:stretch>
            <a:fillRect/>
          </a:stretch>
        </p:blipFill>
        <p:spPr bwMode="auto">
          <a:xfrm>
            <a:off x="590550" y="2708275"/>
            <a:ext cx="8315325" cy="3019425"/>
          </a:xfrm>
          <a:prstGeom prst="rect">
            <a:avLst/>
          </a:prstGeom>
          <a:noFill/>
          <a:ln>
            <a:noFill/>
          </a:ln>
          <a:effectLst>
            <a:prstShdw prst="shdw17" dist="17961" dir="2700000">
              <a:schemeClr val="accent1">
                <a:gamma/>
                <a:shade val="60000"/>
                <a:invGamma/>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标题 1"/>
          <p:cNvSpPr>
            <a:spLocks noGrp="1"/>
          </p:cNvSpPr>
          <p:nvPr>
            <p:ph type="title"/>
          </p:nvPr>
        </p:nvSpPr>
        <p:spPr>
          <a:xfrm>
            <a:off x="0" y="15875"/>
            <a:ext cx="8201025" cy="460375"/>
          </a:xfrm>
        </p:spPr>
        <p:txBody>
          <a:bodyPr/>
          <a:lstStyle/>
          <a:p>
            <a:r>
              <a:rPr lang="zh-CN" altLang="en-US" smtClean="0"/>
              <a:t>云计算基础设施关键技术</a:t>
            </a:r>
            <a:r>
              <a:rPr lang="en-US" altLang="zh-CN" smtClean="0"/>
              <a:t>——</a:t>
            </a:r>
            <a:r>
              <a:rPr lang="zh-CN" altLang="en-US" smtClean="0"/>
              <a:t>绿色数据中心</a:t>
            </a:r>
          </a:p>
        </p:txBody>
      </p:sp>
      <p:sp>
        <p:nvSpPr>
          <p:cNvPr id="32771" name="内容占位符 2"/>
          <p:cNvSpPr>
            <a:spLocks noGrp="1"/>
          </p:cNvSpPr>
          <p:nvPr>
            <p:ph idx="1"/>
          </p:nvPr>
        </p:nvSpPr>
        <p:spPr/>
        <p:txBody>
          <a:bodyPr/>
          <a:lstStyle/>
          <a:p>
            <a:r>
              <a:rPr lang="zh-CN" altLang="en-US" b="0" smtClean="0"/>
              <a:t>云计算使数据中心向大型化发展，也带来节能的迫切需求。据统计，</a:t>
            </a:r>
            <a:r>
              <a:rPr lang="en-US" altLang="zh-CN" b="0" smtClean="0"/>
              <a:t>2010 </a:t>
            </a:r>
            <a:r>
              <a:rPr lang="zh-CN" altLang="en-US" b="0" smtClean="0"/>
              <a:t>年数据中心能耗已经占全球总能耗的</a:t>
            </a:r>
            <a:r>
              <a:rPr lang="en-US" altLang="zh-CN" b="0" smtClean="0"/>
              <a:t>1.3%</a:t>
            </a:r>
            <a:r>
              <a:rPr lang="zh-CN" altLang="en-US" b="0" smtClean="0"/>
              <a:t>，绿色化刻不容缓。在数据中心的能耗中，</a:t>
            </a:r>
            <a:r>
              <a:rPr lang="en-US" altLang="zh-CN" b="0" smtClean="0"/>
              <a:t>IT </a:t>
            </a:r>
            <a:r>
              <a:rPr lang="zh-CN" altLang="en-US" b="0" smtClean="0"/>
              <a:t>设备、制冷系统和供配电系统占主要部分，因此数据中心的节能技术主要围绕这三个方面。</a:t>
            </a:r>
            <a:endParaRPr lang="zh-CN" altLang="en-US" smtClean="0"/>
          </a:p>
        </p:txBody>
      </p:sp>
      <p:pic>
        <p:nvPicPr>
          <p:cNvPr id="32772" name="图片 2" descr="bls.bmp"/>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787900" y="2601913"/>
            <a:ext cx="3816350" cy="272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3" name="矩形 1"/>
          <p:cNvSpPr>
            <a:spLocks noChangeArrowheads="1"/>
          </p:cNvSpPr>
          <p:nvPr/>
        </p:nvSpPr>
        <p:spPr bwMode="auto">
          <a:xfrm>
            <a:off x="4802188" y="5589588"/>
            <a:ext cx="43846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zh-CN">
                <a:latin typeface="Calibri" pitchFamily="34" charset="0"/>
              </a:rPr>
              <a:t>google</a:t>
            </a:r>
            <a:r>
              <a:rPr lang="zh-CN" altLang="en-US">
                <a:latin typeface="Calibri" pitchFamily="34" charset="0"/>
              </a:rPr>
              <a:t>比利时平均每年只有</a:t>
            </a:r>
            <a:r>
              <a:rPr lang="en-US" altLang="zh-CN">
                <a:latin typeface="Calibri" pitchFamily="34" charset="0"/>
              </a:rPr>
              <a:t>7</a:t>
            </a:r>
            <a:r>
              <a:rPr lang="zh-CN" altLang="en-US">
                <a:latin typeface="Calibri" pitchFamily="34" charset="0"/>
              </a:rPr>
              <a:t>天气温不符合免费冷却系统的要求</a:t>
            </a:r>
          </a:p>
        </p:txBody>
      </p:sp>
      <p:pic>
        <p:nvPicPr>
          <p:cNvPr id="32774" name="图片 4" descr="dbl.bmp"/>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5288" y="2601913"/>
            <a:ext cx="3863975" cy="274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5" name="矩形 8"/>
          <p:cNvSpPr>
            <a:spLocks noChangeArrowheads="1"/>
          </p:cNvSpPr>
          <p:nvPr/>
        </p:nvSpPr>
        <p:spPr bwMode="auto">
          <a:xfrm>
            <a:off x="395288" y="5589588"/>
            <a:ext cx="12620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zh-CN" altLang="en-US">
                <a:latin typeface="Calibri" pitchFamily="34" charset="0"/>
              </a:rPr>
              <a:t>微软的节能措施</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标题 1"/>
          <p:cNvSpPr>
            <a:spLocks noGrp="1"/>
          </p:cNvSpPr>
          <p:nvPr>
            <p:ph type="title"/>
          </p:nvPr>
        </p:nvSpPr>
        <p:spPr>
          <a:xfrm>
            <a:off x="0" y="15875"/>
            <a:ext cx="8201025" cy="460375"/>
          </a:xfrm>
        </p:spPr>
        <p:txBody>
          <a:bodyPr/>
          <a:lstStyle/>
          <a:p>
            <a:r>
              <a:rPr lang="en-US" altLang="zh-CN" smtClean="0"/>
              <a:t>IT</a:t>
            </a:r>
            <a:r>
              <a:rPr lang="zh-CN" altLang="en-US" smtClean="0"/>
              <a:t>部门借助云应对</a:t>
            </a:r>
            <a:r>
              <a:rPr lang="en-US" altLang="zh-CN" smtClean="0"/>
              <a:t>IT</a:t>
            </a:r>
            <a:r>
              <a:rPr lang="zh-CN" altLang="en-US" smtClean="0"/>
              <a:t>挑战</a:t>
            </a:r>
          </a:p>
        </p:txBody>
      </p:sp>
      <p:sp>
        <p:nvSpPr>
          <p:cNvPr id="33795" name="内容占位符 2"/>
          <p:cNvSpPr>
            <a:spLocks noGrp="1"/>
          </p:cNvSpPr>
          <p:nvPr>
            <p:ph idx="1"/>
          </p:nvPr>
        </p:nvSpPr>
        <p:spPr>
          <a:xfrm>
            <a:off x="304800" y="1524000"/>
            <a:ext cx="3317875" cy="3252788"/>
          </a:xfrm>
        </p:spPr>
        <p:txBody>
          <a:bodyPr/>
          <a:lstStyle/>
          <a:p>
            <a:pPr>
              <a:lnSpc>
                <a:spcPct val="120000"/>
              </a:lnSpc>
            </a:pPr>
            <a:r>
              <a:rPr lang="zh-CN" altLang="en-US" sz="1600" smtClean="0">
                <a:latin typeface="Arial Narrow" pitchFamily="34" charset="0"/>
                <a:ea typeface="仿宋_GB2312"/>
                <a:cs typeface="仿宋_GB2312"/>
              </a:rPr>
              <a:t>烟囱式的系统建设，</a:t>
            </a:r>
            <a:r>
              <a:rPr lang="en-US" altLang="zh-CN" sz="1600" smtClean="0">
                <a:latin typeface="Arial Narrow" pitchFamily="34" charset="0"/>
                <a:ea typeface="仿宋_GB2312"/>
                <a:cs typeface="仿宋_GB2312"/>
              </a:rPr>
              <a:t>IT</a:t>
            </a:r>
            <a:r>
              <a:rPr lang="zh-CN" altLang="en-US" sz="1600" smtClean="0">
                <a:latin typeface="Arial Narrow" pitchFamily="34" charset="0"/>
                <a:ea typeface="仿宋_GB2312"/>
                <a:cs typeface="仿宋_GB2312"/>
              </a:rPr>
              <a:t>成本居高不下（硬件</a:t>
            </a:r>
            <a:r>
              <a:rPr lang="en-US" altLang="zh-CN" sz="1600" smtClean="0">
                <a:latin typeface="Arial Narrow" pitchFamily="34" charset="0"/>
                <a:ea typeface="仿宋_GB2312"/>
                <a:cs typeface="仿宋_GB2312"/>
              </a:rPr>
              <a:t>/</a:t>
            </a:r>
            <a:r>
              <a:rPr lang="zh-CN" altLang="en-US" sz="1600" smtClean="0">
                <a:latin typeface="Arial Narrow" pitchFamily="34" charset="0"/>
                <a:ea typeface="仿宋_GB2312"/>
                <a:cs typeface="仿宋_GB2312"/>
              </a:rPr>
              <a:t>能耗</a:t>
            </a:r>
            <a:r>
              <a:rPr lang="en-US" altLang="zh-CN" sz="1600" smtClean="0">
                <a:latin typeface="Arial Narrow" pitchFamily="34" charset="0"/>
                <a:ea typeface="仿宋_GB2312"/>
                <a:cs typeface="仿宋_GB2312"/>
              </a:rPr>
              <a:t>/</a:t>
            </a:r>
            <a:r>
              <a:rPr lang="zh-CN" altLang="en-US" sz="1600" smtClean="0">
                <a:latin typeface="Arial Narrow" pitchFamily="34" charset="0"/>
                <a:ea typeface="仿宋_GB2312"/>
                <a:cs typeface="仿宋_GB2312"/>
              </a:rPr>
              <a:t>管理）</a:t>
            </a:r>
            <a:endParaRPr lang="en-US" altLang="zh-CN" sz="1600" smtClean="0">
              <a:latin typeface="Arial Narrow" pitchFamily="34" charset="0"/>
              <a:ea typeface="仿宋_GB2312"/>
              <a:cs typeface="仿宋_GB2312"/>
            </a:endParaRPr>
          </a:p>
          <a:p>
            <a:pPr>
              <a:lnSpc>
                <a:spcPct val="120000"/>
              </a:lnSpc>
            </a:pPr>
            <a:r>
              <a:rPr lang="zh-CN" altLang="en-US" sz="1600" smtClean="0">
                <a:latin typeface="Arial Narrow" pitchFamily="34" charset="0"/>
                <a:ea typeface="仿宋_GB2312"/>
                <a:cs typeface="仿宋_GB2312"/>
              </a:rPr>
              <a:t>按峰值规模建设，资源平均利用率低</a:t>
            </a:r>
            <a:endParaRPr lang="en-US" altLang="zh-CN" sz="1600" smtClean="0">
              <a:latin typeface="Arial Narrow" pitchFamily="34" charset="0"/>
              <a:ea typeface="仿宋_GB2312"/>
              <a:cs typeface="仿宋_GB2312"/>
            </a:endParaRPr>
          </a:p>
          <a:p>
            <a:pPr>
              <a:lnSpc>
                <a:spcPct val="120000"/>
              </a:lnSpc>
            </a:pPr>
            <a:r>
              <a:rPr lang="zh-CN" altLang="en-US" sz="1600" smtClean="0">
                <a:latin typeface="Arial Narrow" pitchFamily="34" charset="0"/>
                <a:ea typeface="仿宋_GB2312"/>
                <a:cs typeface="仿宋_GB2312"/>
              </a:rPr>
              <a:t>缺乏弹性的系统设计，应对业务突发情况差</a:t>
            </a:r>
            <a:endParaRPr lang="en-US" altLang="zh-CN" sz="1600" smtClean="0">
              <a:latin typeface="Arial Narrow" pitchFamily="34" charset="0"/>
              <a:ea typeface="仿宋_GB2312"/>
              <a:cs typeface="仿宋_GB2312"/>
            </a:endParaRPr>
          </a:p>
          <a:p>
            <a:pPr>
              <a:lnSpc>
                <a:spcPct val="120000"/>
              </a:lnSpc>
            </a:pPr>
            <a:r>
              <a:rPr lang="zh-CN" altLang="en-US" sz="1600" smtClean="0">
                <a:latin typeface="Arial Narrow" pitchFamily="34" charset="0"/>
                <a:ea typeface="仿宋_GB2312"/>
                <a:cs typeface="仿宋_GB2312"/>
              </a:rPr>
              <a:t>建设周期漫长，无法快速提供与部署</a:t>
            </a:r>
            <a:endParaRPr lang="en-US" altLang="zh-CN" sz="1600" smtClean="0">
              <a:latin typeface="Arial Narrow" pitchFamily="34" charset="0"/>
              <a:ea typeface="仿宋_GB2312"/>
              <a:cs typeface="仿宋_GB2312"/>
            </a:endParaRPr>
          </a:p>
          <a:p>
            <a:pPr>
              <a:lnSpc>
                <a:spcPct val="120000"/>
              </a:lnSpc>
            </a:pPr>
            <a:r>
              <a:rPr lang="zh-CN" altLang="en-US" sz="1600" smtClean="0">
                <a:latin typeface="Arial Narrow" pitchFamily="34" charset="0"/>
                <a:ea typeface="仿宋_GB2312"/>
                <a:cs typeface="仿宋_GB2312"/>
              </a:rPr>
              <a:t>业务需求的快速增长，设备更替快，不利投资保护</a:t>
            </a:r>
            <a:endParaRPr lang="en-US" altLang="zh-CN" sz="1600" smtClean="0">
              <a:latin typeface="Arial Narrow" pitchFamily="34" charset="0"/>
              <a:ea typeface="仿宋_GB2312"/>
              <a:cs typeface="仿宋_GB2312"/>
            </a:endParaRPr>
          </a:p>
          <a:p>
            <a:pPr>
              <a:lnSpc>
                <a:spcPct val="120000"/>
              </a:lnSpc>
            </a:pPr>
            <a:endParaRPr lang="zh-CN" altLang="en-US" sz="1600" smtClean="0">
              <a:latin typeface="Arial Narrow" pitchFamily="34" charset="0"/>
              <a:ea typeface="仿宋_GB2312"/>
              <a:cs typeface="仿宋_GB2312"/>
            </a:endParaRPr>
          </a:p>
        </p:txBody>
      </p:sp>
      <p:sp>
        <p:nvSpPr>
          <p:cNvPr id="5" name="椭圆​​ 4"/>
          <p:cNvSpPr/>
          <p:nvPr/>
        </p:nvSpPr>
        <p:spPr bwMode="auto">
          <a:xfrm>
            <a:off x="3849688" y="1587500"/>
            <a:ext cx="2286000" cy="379413"/>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92075" tIns="46038" rIns="92075" bIns="46038" anchor="ctr"/>
          <a:lstStyle/>
          <a:p>
            <a:pPr marL="119063" indent="-119063" algn="ctr">
              <a:lnSpc>
                <a:spcPct val="90000"/>
              </a:lnSpc>
              <a:spcBef>
                <a:spcPct val="50000"/>
              </a:spcBef>
              <a:buClr>
                <a:schemeClr val="accent1"/>
              </a:buClr>
              <a:defRPr/>
            </a:pPr>
            <a:r>
              <a:rPr lang="zh-CN" altLang="en-US" dirty="0">
                <a:solidFill>
                  <a:schemeClr val="tx1"/>
                </a:solidFill>
                <a:latin typeface="Arial Narrow" pitchFamily="34" charset="0"/>
                <a:ea typeface="仿宋_GB2312" pitchFamily="49" charset="-122"/>
              </a:rPr>
              <a:t>集中资源池的共享</a:t>
            </a:r>
          </a:p>
        </p:txBody>
      </p:sp>
      <p:sp>
        <p:nvSpPr>
          <p:cNvPr id="6" name="椭圆​​ 5"/>
          <p:cNvSpPr/>
          <p:nvPr/>
        </p:nvSpPr>
        <p:spPr bwMode="auto">
          <a:xfrm>
            <a:off x="3849688" y="2251075"/>
            <a:ext cx="2286000" cy="377825"/>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92075" tIns="46038" rIns="92075" bIns="46038" anchor="ctr"/>
          <a:lstStyle/>
          <a:p>
            <a:pPr marL="119063" indent="-119063" algn="ctr">
              <a:lnSpc>
                <a:spcPct val="90000"/>
              </a:lnSpc>
              <a:spcBef>
                <a:spcPct val="50000"/>
              </a:spcBef>
              <a:buClr>
                <a:schemeClr val="accent1"/>
              </a:buClr>
              <a:defRPr/>
            </a:pPr>
            <a:r>
              <a:rPr lang="zh-CN" altLang="en-US" dirty="0">
                <a:solidFill>
                  <a:schemeClr val="tx1"/>
                </a:solidFill>
                <a:latin typeface="Arial Narrow" pitchFamily="34" charset="0"/>
                <a:ea typeface="仿宋_GB2312" pitchFamily="49" charset="-122"/>
              </a:rPr>
              <a:t>虚拟化、分时</a:t>
            </a:r>
            <a:r>
              <a:rPr lang="en-US" altLang="zh-CN" dirty="0">
                <a:solidFill>
                  <a:schemeClr val="tx1"/>
                </a:solidFill>
                <a:latin typeface="Arial Narrow" pitchFamily="34" charset="0"/>
                <a:ea typeface="仿宋_GB2312" pitchFamily="49" charset="-122"/>
              </a:rPr>
              <a:t>/</a:t>
            </a:r>
            <a:r>
              <a:rPr lang="zh-CN" altLang="en-US" dirty="0">
                <a:solidFill>
                  <a:schemeClr val="tx1"/>
                </a:solidFill>
                <a:latin typeface="Arial Narrow" pitchFamily="34" charset="0"/>
                <a:ea typeface="仿宋_GB2312" pitchFamily="49" charset="-122"/>
              </a:rPr>
              <a:t>区共享</a:t>
            </a:r>
          </a:p>
        </p:txBody>
      </p:sp>
      <p:sp>
        <p:nvSpPr>
          <p:cNvPr id="7" name="椭圆​​ 6"/>
          <p:cNvSpPr/>
          <p:nvPr/>
        </p:nvSpPr>
        <p:spPr bwMode="auto">
          <a:xfrm>
            <a:off x="3849688" y="2932113"/>
            <a:ext cx="2286000" cy="379412"/>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92075" tIns="46038" rIns="92075" bIns="46038" anchor="ctr"/>
          <a:lstStyle/>
          <a:p>
            <a:pPr marL="119063" indent="-119063" algn="ctr">
              <a:lnSpc>
                <a:spcPct val="90000"/>
              </a:lnSpc>
              <a:spcBef>
                <a:spcPct val="50000"/>
              </a:spcBef>
              <a:buClr>
                <a:schemeClr val="accent1"/>
              </a:buClr>
              <a:defRPr/>
            </a:pPr>
            <a:r>
              <a:rPr lang="zh-CN" altLang="en-US" dirty="0">
                <a:solidFill>
                  <a:schemeClr val="tx1"/>
                </a:solidFill>
                <a:latin typeface="Arial Narrow" pitchFamily="34" charset="0"/>
                <a:ea typeface="仿宋_GB2312" pitchFamily="49" charset="-122"/>
              </a:rPr>
              <a:t>动态调配、弹性伸缩</a:t>
            </a:r>
          </a:p>
        </p:txBody>
      </p:sp>
      <p:sp>
        <p:nvSpPr>
          <p:cNvPr id="8" name="椭圆​​ 7"/>
          <p:cNvSpPr/>
          <p:nvPr/>
        </p:nvSpPr>
        <p:spPr bwMode="auto">
          <a:xfrm>
            <a:off x="3849688" y="3673475"/>
            <a:ext cx="2286000" cy="379413"/>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92075" tIns="46038" rIns="92075" bIns="46038" anchor="ctr"/>
          <a:lstStyle/>
          <a:p>
            <a:pPr marL="119063" indent="-119063" algn="ctr">
              <a:lnSpc>
                <a:spcPct val="90000"/>
              </a:lnSpc>
              <a:spcBef>
                <a:spcPct val="50000"/>
              </a:spcBef>
              <a:buClr>
                <a:schemeClr val="accent1"/>
              </a:buClr>
              <a:defRPr/>
            </a:pPr>
            <a:r>
              <a:rPr lang="zh-CN" altLang="en-US" dirty="0">
                <a:solidFill>
                  <a:schemeClr val="tx1"/>
                </a:solidFill>
                <a:latin typeface="Arial Narrow" pitchFamily="34" charset="0"/>
                <a:ea typeface="仿宋_GB2312" pitchFamily="49" charset="-122"/>
              </a:rPr>
              <a:t>自动化、自服务</a:t>
            </a:r>
          </a:p>
        </p:txBody>
      </p:sp>
      <p:sp>
        <p:nvSpPr>
          <p:cNvPr id="9" name="椭圆​​ 8"/>
          <p:cNvSpPr/>
          <p:nvPr/>
        </p:nvSpPr>
        <p:spPr bwMode="auto">
          <a:xfrm>
            <a:off x="3849688" y="4365625"/>
            <a:ext cx="2286000" cy="379413"/>
          </a:xfrm>
          <a:prstGeom prst="ellipse">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92075" tIns="46038" rIns="92075" bIns="46038" anchor="ctr"/>
          <a:lstStyle/>
          <a:p>
            <a:pPr marL="119063" indent="-119063" algn="ctr">
              <a:lnSpc>
                <a:spcPct val="90000"/>
              </a:lnSpc>
              <a:spcBef>
                <a:spcPct val="50000"/>
              </a:spcBef>
              <a:buClr>
                <a:schemeClr val="accent1"/>
              </a:buClr>
              <a:defRPr/>
            </a:pPr>
            <a:r>
              <a:rPr lang="zh-CN" altLang="en-US" dirty="0">
                <a:solidFill>
                  <a:schemeClr val="tx1"/>
                </a:solidFill>
                <a:latin typeface="Arial Narrow" pitchFamily="34" charset="0"/>
                <a:ea typeface="仿宋_GB2312" pitchFamily="49" charset="-122"/>
              </a:rPr>
              <a:t>低成本、标准化硬件</a:t>
            </a:r>
          </a:p>
        </p:txBody>
      </p:sp>
      <p:sp>
        <p:nvSpPr>
          <p:cNvPr id="33801" name="TextBox 9"/>
          <p:cNvSpPr txBox="1">
            <a:spLocks noChangeArrowheads="1"/>
          </p:cNvSpPr>
          <p:nvPr/>
        </p:nvSpPr>
        <p:spPr bwMode="auto">
          <a:xfrm>
            <a:off x="3849688" y="1020763"/>
            <a:ext cx="2062162"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a:lnSpc>
                <a:spcPct val="90000"/>
              </a:lnSpc>
            </a:pPr>
            <a:r>
              <a:rPr lang="zh-CN" altLang="en-US" sz="2800">
                <a:solidFill>
                  <a:srgbClr val="FF0000"/>
                </a:solidFill>
                <a:latin typeface="Arial Narrow" pitchFamily="34" charset="0"/>
                <a:ea typeface="仿宋_GB2312"/>
                <a:cs typeface="仿宋_GB2312"/>
              </a:rPr>
              <a:t>云计算</a:t>
            </a:r>
          </a:p>
        </p:txBody>
      </p:sp>
      <p:sp>
        <p:nvSpPr>
          <p:cNvPr id="11" name="等腰三角形​​ 10"/>
          <p:cNvSpPr>
            <a:spLocks noChangeArrowheads="1"/>
          </p:cNvSpPr>
          <p:nvPr/>
        </p:nvSpPr>
        <p:spPr bwMode="auto">
          <a:xfrm rot="5400000">
            <a:off x="4911726" y="3022600"/>
            <a:ext cx="2779712" cy="287337"/>
          </a:xfrm>
          <a:prstGeom prst="triangle">
            <a:avLst>
              <a:gd name="adj" fmla="val 50384"/>
            </a:avLst>
          </a:prstGeom>
          <a:solidFill>
            <a:schemeClr val="bg1"/>
          </a:solidFill>
          <a:ln w="25400" algn="ctr">
            <a:solidFill>
              <a:schemeClr val="accent2"/>
            </a:solidFill>
            <a:miter lim="800000"/>
            <a:headEnd/>
            <a:tailEnd/>
          </a:ln>
        </p:spPr>
        <p:txBody>
          <a:bodyPr lIns="92075" tIns="46038" rIns="92075" bIns="46038" anchor="ctr"/>
          <a:lstStyle/>
          <a:p>
            <a:pPr marL="119063" indent="-119063" algn="ctr">
              <a:lnSpc>
                <a:spcPct val="90000"/>
              </a:lnSpc>
              <a:spcBef>
                <a:spcPct val="50000"/>
              </a:spcBef>
              <a:buClr>
                <a:schemeClr val="accent1"/>
              </a:buClr>
            </a:pPr>
            <a:endParaRPr lang="zh-CN" altLang="en-US">
              <a:latin typeface="Arial Narrow" pitchFamily="34" charset="0"/>
              <a:ea typeface="仿宋_GB2312"/>
              <a:cs typeface="仿宋_GB2312"/>
            </a:endParaRPr>
          </a:p>
        </p:txBody>
      </p:sp>
      <p:pic>
        <p:nvPicPr>
          <p:cNvPr id="33803" name="图片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45250" y="2266950"/>
            <a:ext cx="2319338" cy="140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804" name="TextBox 67"/>
          <p:cNvSpPr txBox="1">
            <a:spLocks noChangeArrowheads="1"/>
          </p:cNvSpPr>
          <p:nvPr/>
        </p:nvSpPr>
        <p:spPr bwMode="auto">
          <a:xfrm>
            <a:off x="6705600" y="3641725"/>
            <a:ext cx="1914525"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a:lnSpc>
                <a:spcPct val="90000"/>
              </a:lnSpc>
            </a:pPr>
            <a:r>
              <a:rPr lang="zh-CN" altLang="en-US" sz="1600">
                <a:latin typeface="Arial Narrow" pitchFamily="34" charset="0"/>
                <a:ea typeface="仿宋_GB2312"/>
                <a:cs typeface="仿宋_GB2312"/>
              </a:rPr>
              <a:t>下一代</a:t>
            </a:r>
            <a:r>
              <a:rPr lang="en-US" altLang="zh-CN" sz="1600">
                <a:latin typeface="Arial Narrow" pitchFamily="34" charset="0"/>
                <a:ea typeface="仿宋_GB2312"/>
                <a:cs typeface="仿宋_GB2312"/>
              </a:rPr>
              <a:t>IT</a:t>
            </a:r>
            <a:r>
              <a:rPr lang="zh-CN" altLang="en-US" sz="1600">
                <a:latin typeface="Arial Narrow" pitchFamily="34" charset="0"/>
                <a:ea typeface="仿宋_GB2312"/>
                <a:cs typeface="仿宋_GB2312"/>
              </a:rPr>
              <a:t>数据中心</a:t>
            </a:r>
          </a:p>
        </p:txBody>
      </p:sp>
      <p:sp>
        <p:nvSpPr>
          <p:cNvPr id="33805" name="TextBox 68"/>
          <p:cNvSpPr txBox="1">
            <a:spLocks noChangeArrowheads="1"/>
          </p:cNvSpPr>
          <p:nvPr/>
        </p:nvSpPr>
        <p:spPr bwMode="auto">
          <a:xfrm>
            <a:off x="6557963" y="4038600"/>
            <a:ext cx="2662237" cy="208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nSpc>
                <a:spcPct val="90000"/>
              </a:lnSpc>
              <a:buFont typeface="Arial" pitchFamily="34" charset="0"/>
              <a:buChar char="•"/>
            </a:pPr>
            <a:r>
              <a:rPr lang="zh-CN" altLang="en-US" sz="2400">
                <a:solidFill>
                  <a:srgbClr val="FF0000"/>
                </a:solidFill>
                <a:latin typeface="Arial Narrow" pitchFamily="34" charset="0"/>
                <a:ea typeface="仿宋_GB2312"/>
                <a:cs typeface="仿宋_GB2312"/>
              </a:rPr>
              <a:t>技术标准化</a:t>
            </a:r>
            <a:endParaRPr lang="en-US" altLang="zh-CN" sz="2400">
              <a:solidFill>
                <a:srgbClr val="FF0000"/>
              </a:solidFill>
              <a:latin typeface="Arial Narrow" pitchFamily="34" charset="0"/>
              <a:ea typeface="仿宋_GB2312"/>
              <a:cs typeface="仿宋_GB2312"/>
            </a:endParaRPr>
          </a:p>
          <a:p>
            <a:pPr>
              <a:lnSpc>
                <a:spcPct val="90000"/>
              </a:lnSpc>
              <a:buFont typeface="Arial" pitchFamily="34" charset="0"/>
              <a:buChar char="•"/>
            </a:pPr>
            <a:r>
              <a:rPr lang="zh-CN" altLang="en-US" sz="2400">
                <a:solidFill>
                  <a:srgbClr val="FF0000"/>
                </a:solidFill>
                <a:latin typeface="Arial Narrow" pitchFamily="34" charset="0"/>
                <a:ea typeface="仿宋_GB2312"/>
                <a:cs typeface="仿宋_GB2312"/>
              </a:rPr>
              <a:t>能力服务化</a:t>
            </a:r>
            <a:endParaRPr lang="en-US" altLang="zh-CN" sz="2400">
              <a:solidFill>
                <a:srgbClr val="FF0000"/>
              </a:solidFill>
              <a:latin typeface="Arial Narrow" pitchFamily="34" charset="0"/>
              <a:ea typeface="仿宋_GB2312"/>
              <a:cs typeface="仿宋_GB2312"/>
            </a:endParaRPr>
          </a:p>
          <a:p>
            <a:pPr>
              <a:lnSpc>
                <a:spcPct val="90000"/>
              </a:lnSpc>
              <a:buFont typeface="Arial" pitchFamily="34" charset="0"/>
              <a:buChar char="•"/>
            </a:pPr>
            <a:r>
              <a:rPr lang="zh-CN" altLang="en-US" sz="2400">
                <a:solidFill>
                  <a:srgbClr val="FF0000"/>
                </a:solidFill>
                <a:latin typeface="Arial Narrow" pitchFamily="34" charset="0"/>
                <a:ea typeface="仿宋_GB2312"/>
                <a:cs typeface="仿宋_GB2312"/>
              </a:rPr>
              <a:t>提供快速化</a:t>
            </a:r>
            <a:endParaRPr lang="en-US" altLang="zh-CN" sz="2400">
              <a:solidFill>
                <a:srgbClr val="FF0000"/>
              </a:solidFill>
              <a:latin typeface="Arial Narrow" pitchFamily="34" charset="0"/>
              <a:ea typeface="仿宋_GB2312"/>
              <a:cs typeface="仿宋_GB2312"/>
            </a:endParaRPr>
          </a:p>
          <a:p>
            <a:pPr>
              <a:lnSpc>
                <a:spcPct val="90000"/>
              </a:lnSpc>
              <a:buFont typeface="Arial" pitchFamily="34" charset="0"/>
              <a:buChar char="•"/>
            </a:pPr>
            <a:r>
              <a:rPr lang="zh-CN" altLang="en-US" sz="2400">
                <a:solidFill>
                  <a:srgbClr val="FF0000"/>
                </a:solidFill>
                <a:latin typeface="Arial Narrow" pitchFamily="34" charset="0"/>
                <a:ea typeface="仿宋_GB2312"/>
                <a:cs typeface="仿宋_GB2312"/>
              </a:rPr>
              <a:t>资源弹性化</a:t>
            </a:r>
            <a:endParaRPr lang="en-US" altLang="zh-CN" sz="2400">
              <a:solidFill>
                <a:srgbClr val="FF0000"/>
              </a:solidFill>
              <a:latin typeface="Arial Narrow" pitchFamily="34" charset="0"/>
              <a:ea typeface="仿宋_GB2312"/>
              <a:cs typeface="仿宋_GB2312"/>
            </a:endParaRPr>
          </a:p>
          <a:p>
            <a:pPr>
              <a:lnSpc>
                <a:spcPct val="90000"/>
              </a:lnSpc>
              <a:buFont typeface="Arial" pitchFamily="34" charset="0"/>
              <a:buChar char="•"/>
            </a:pPr>
            <a:r>
              <a:rPr lang="zh-CN" altLang="en-US" sz="2400">
                <a:solidFill>
                  <a:srgbClr val="FF0000"/>
                </a:solidFill>
                <a:latin typeface="Arial Narrow" pitchFamily="34" charset="0"/>
                <a:ea typeface="仿宋_GB2312"/>
                <a:cs typeface="仿宋_GB2312"/>
              </a:rPr>
              <a:t>管理自动化</a:t>
            </a:r>
            <a:endParaRPr lang="en-US" altLang="zh-CN" sz="2400">
              <a:solidFill>
                <a:srgbClr val="FF0000"/>
              </a:solidFill>
              <a:latin typeface="Arial Narrow" pitchFamily="34" charset="0"/>
              <a:ea typeface="仿宋_GB2312"/>
              <a:cs typeface="仿宋_GB2312"/>
            </a:endParaRPr>
          </a:p>
          <a:p>
            <a:pPr>
              <a:lnSpc>
                <a:spcPct val="90000"/>
              </a:lnSpc>
              <a:buFont typeface="Arial" pitchFamily="34" charset="0"/>
              <a:buChar char="•"/>
            </a:pPr>
            <a:r>
              <a:rPr lang="zh-CN" altLang="en-US" sz="2400">
                <a:solidFill>
                  <a:srgbClr val="FF0000"/>
                </a:solidFill>
                <a:latin typeface="Arial Narrow" pitchFamily="34" charset="0"/>
                <a:ea typeface="仿宋_GB2312"/>
                <a:cs typeface="仿宋_GB2312"/>
              </a:rPr>
              <a:t>管控集中化</a:t>
            </a:r>
          </a:p>
        </p:txBody>
      </p:sp>
      <p:sp>
        <p:nvSpPr>
          <p:cNvPr id="33806" name="TextBox 14"/>
          <p:cNvSpPr txBox="1">
            <a:spLocks noChangeArrowheads="1"/>
          </p:cNvSpPr>
          <p:nvPr/>
        </p:nvSpPr>
        <p:spPr bwMode="auto">
          <a:xfrm>
            <a:off x="949325" y="990600"/>
            <a:ext cx="2063750"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a:lnSpc>
                <a:spcPct val="90000"/>
              </a:lnSpc>
            </a:pPr>
            <a:r>
              <a:rPr lang="zh-CN" altLang="en-US" sz="2800">
                <a:solidFill>
                  <a:srgbClr val="FF0000"/>
                </a:solidFill>
                <a:latin typeface="Arial Narrow" pitchFamily="34" charset="0"/>
                <a:ea typeface="仿宋_GB2312"/>
                <a:cs typeface="仿宋_GB2312"/>
              </a:rPr>
              <a:t>传统模式</a:t>
            </a:r>
          </a:p>
        </p:txBody>
      </p:sp>
      <p:pic>
        <p:nvPicPr>
          <p:cNvPr id="33807" name="Content Placeholder 5" descr="cloud a.g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7325" y="4838700"/>
            <a:ext cx="3273425"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8" name="Content Placeholder 4" descr="cloud b.gif"/>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36950" y="4838700"/>
            <a:ext cx="309245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标题 1"/>
          <p:cNvSpPr>
            <a:spLocks noGrp="1"/>
          </p:cNvSpPr>
          <p:nvPr>
            <p:ph type="title"/>
          </p:nvPr>
        </p:nvSpPr>
        <p:spPr>
          <a:xfrm>
            <a:off x="0" y="15875"/>
            <a:ext cx="8201025" cy="460375"/>
          </a:xfrm>
        </p:spPr>
        <p:txBody>
          <a:bodyPr/>
          <a:lstStyle/>
          <a:p>
            <a:r>
              <a:rPr lang="zh-CN" altLang="en-US" smtClean="0"/>
              <a:t>云计算“操作系统”关键技术</a:t>
            </a:r>
          </a:p>
        </p:txBody>
      </p:sp>
      <p:sp>
        <p:nvSpPr>
          <p:cNvPr id="34819" name="内容占位符 2"/>
          <p:cNvSpPr>
            <a:spLocks noGrp="1"/>
          </p:cNvSpPr>
          <p:nvPr>
            <p:ph idx="1"/>
          </p:nvPr>
        </p:nvSpPr>
        <p:spPr>
          <a:xfrm>
            <a:off x="457200" y="933450"/>
            <a:ext cx="8229600" cy="2351088"/>
          </a:xfrm>
        </p:spPr>
        <p:txBody>
          <a:bodyPr/>
          <a:lstStyle/>
          <a:p>
            <a:r>
              <a:rPr lang="zh-CN" altLang="en-US" b="0" smtClean="0"/>
              <a:t>虽然云计算“操作系统”的体系结构和表现形态与单机操作系统有很大区别，但从宏观上来看，云计算“操作系统”向下控制底层资源，向上提供计算、存储等资源接口，功能上与单机操作系统类似。云计算“操作系统”的主要关键技术包括实现底层资源池化管理的“资源池”管理技术和向用户提供大规模存储、计算能力的分布式任务和数据管理技术。</a:t>
            </a:r>
            <a:endParaRPr lang="zh-CN" altLang="en-US" smtClean="0"/>
          </a:p>
        </p:txBody>
      </p:sp>
      <p:pic>
        <p:nvPicPr>
          <p:cNvPr id="34820" name="Picture 1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5513" y="3933825"/>
            <a:ext cx="4881562" cy="155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圆角矩形 18"/>
          <p:cNvSpPr/>
          <p:nvPr/>
        </p:nvSpPr>
        <p:spPr>
          <a:xfrm>
            <a:off x="7064375" y="4424363"/>
            <a:ext cx="557213" cy="231775"/>
          </a:xfrm>
          <a:prstGeom prst="roundRect">
            <a:avLst/>
          </a:prstGeom>
        </p:spPr>
        <p:style>
          <a:lnRef idx="2">
            <a:schemeClr val="accent3"/>
          </a:lnRef>
          <a:fillRef idx="1">
            <a:schemeClr val="lt1"/>
          </a:fillRef>
          <a:effectRef idx="0">
            <a:schemeClr val="accent3"/>
          </a:effectRef>
          <a:fontRef idx="minor">
            <a:schemeClr val="dk1"/>
          </a:fontRef>
        </p:style>
        <p:txBody>
          <a:bodyPr anchor="ctr"/>
          <a:lstStyle/>
          <a:p>
            <a:pPr algn="ctr" fontAlgn="auto">
              <a:spcBef>
                <a:spcPts val="0"/>
              </a:spcBef>
              <a:spcAft>
                <a:spcPts val="0"/>
              </a:spcAft>
              <a:defRPr/>
            </a:pPr>
            <a:r>
              <a:rPr lang="zh-CN" altLang="en-US" dirty="0">
                <a:latin typeface="+mj-ea"/>
                <a:ea typeface="+mj-ea"/>
              </a:rPr>
              <a:t>逻辑资源</a:t>
            </a:r>
          </a:p>
        </p:txBody>
      </p:sp>
      <p:cxnSp>
        <p:nvCxnSpPr>
          <p:cNvPr id="6" name="直接连接符 21"/>
          <p:cNvCxnSpPr>
            <a:endCxn id="18" idx="1"/>
          </p:cNvCxnSpPr>
          <p:nvPr/>
        </p:nvCxnSpPr>
        <p:spPr>
          <a:xfrm rot="10800000" flipV="1">
            <a:off x="708025" y="4792663"/>
            <a:ext cx="6754813" cy="14287"/>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 name="直接连接符 22"/>
          <p:cNvCxnSpPr/>
          <p:nvPr/>
        </p:nvCxnSpPr>
        <p:spPr>
          <a:xfrm rot="10800000">
            <a:off x="708025" y="4159250"/>
            <a:ext cx="6640513" cy="0"/>
          </a:xfrm>
          <a:prstGeom prst="line">
            <a:avLst/>
          </a:prstGeom>
          <a:ln>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8" name="圆角矩形 31"/>
          <p:cNvSpPr/>
          <p:nvPr/>
        </p:nvSpPr>
        <p:spPr>
          <a:xfrm>
            <a:off x="7064375" y="5129213"/>
            <a:ext cx="557213" cy="231775"/>
          </a:xfrm>
          <a:prstGeom prst="roundRect">
            <a:avLst/>
          </a:prstGeom>
        </p:spPr>
        <p:style>
          <a:lnRef idx="2">
            <a:schemeClr val="accent3"/>
          </a:lnRef>
          <a:fillRef idx="1">
            <a:schemeClr val="lt1"/>
          </a:fillRef>
          <a:effectRef idx="0">
            <a:schemeClr val="accent3"/>
          </a:effectRef>
          <a:fontRef idx="minor">
            <a:schemeClr val="dk1"/>
          </a:fontRef>
        </p:style>
        <p:txBody>
          <a:bodyPr anchor="ctr"/>
          <a:lstStyle/>
          <a:p>
            <a:pPr algn="ctr" fontAlgn="auto">
              <a:spcBef>
                <a:spcPts val="0"/>
              </a:spcBef>
              <a:spcAft>
                <a:spcPts val="0"/>
              </a:spcAft>
              <a:defRPr/>
            </a:pPr>
            <a:r>
              <a:rPr lang="zh-CN" altLang="en-US" dirty="0">
                <a:latin typeface="+mj-ea"/>
                <a:ea typeface="+mj-ea"/>
              </a:rPr>
              <a:t>物理资源</a:t>
            </a:r>
          </a:p>
        </p:txBody>
      </p:sp>
      <p:sp>
        <p:nvSpPr>
          <p:cNvPr id="9" name="圆角矩形 32"/>
          <p:cNvSpPr/>
          <p:nvPr/>
        </p:nvSpPr>
        <p:spPr>
          <a:xfrm>
            <a:off x="3783013" y="4724400"/>
            <a:ext cx="1474787" cy="16510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defRPr/>
            </a:pPr>
            <a:r>
              <a:rPr lang="zh-CN" altLang="en-US" dirty="0">
                <a:latin typeface="+mj-ea"/>
                <a:ea typeface="+mj-ea"/>
              </a:rPr>
              <a:t>存储资源</a:t>
            </a:r>
          </a:p>
        </p:txBody>
      </p:sp>
      <p:sp>
        <p:nvSpPr>
          <p:cNvPr id="10" name="圆角矩形 33"/>
          <p:cNvSpPr/>
          <p:nvPr/>
        </p:nvSpPr>
        <p:spPr>
          <a:xfrm>
            <a:off x="5441950" y="4724400"/>
            <a:ext cx="1476375" cy="16510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defRPr/>
            </a:pPr>
            <a:r>
              <a:rPr lang="zh-CN" altLang="en-US" dirty="0">
                <a:latin typeface="+mj-ea"/>
                <a:ea typeface="+mj-ea"/>
              </a:rPr>
              <a:t>网络资源</a:t>
            </a:r>
          </a:p>
        </p:txBody>
      </p:sp>
      <p:sp>
        <p:nvSpPr>
          <p:cNvPr id="11" name="圆角矩形 34"/>
          <p:cNvSpPr/>
          <p:nvPr/>
        </p:nvSpPr>
        <p:spPr>
          <a:xfrm>
            <a:off x="2060575" y="4076700"/>
            <a:ext cx="1168400" cy="165100"/>
          </a:xfrm>
          <a:prstGeom prst="homePlate">
            <a:avLst/>
          </a:prstGeom>
          <a:ln/>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zh-CN" altLang="en-US" dirty="0">
                <a:latin typeface="+mj-ea"/>
                <a:ea typeface="+mj-ea"/>
              </a:rPr>
              <a:t>资源共享</a:t>
            </a:r>
            <a:endParaRPr lang="en-US" altLang="zh-CN" dirty="0">
              <a:latin typeface="+mj-ea"/>
              <a:ea typeface="+mj-ea"/>
            </a:endParaRPr>
          </a:p>
        </p:txBody>
      </p:sp>
      <p:sp>
        <p:nvSpPr>
          <p:cNvPr id="12" name="圆角矩形 36"/>
          <p:cNvSpPr/>
          <p:nvPr/>
        </p:nvSpPr>
        <p:spPr>
          <a:xfrm>
            <a:off x="3371850" y="4076700"/>
            <a:ext cx="1168400" cy="165100"/>
          </a:xfrm>
          <a:prstGeom prst="homePlate">
            <a:avLst/>
          </a:prstGeom>
          <a:ln/>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zh-CN" altLang="en-US" dirty="0">
                <a:latin typeface="+mj-ea"/>
                <a:ea typeface="+mj-ea"/>
              </a:rPr>
              <a:t>按需分配</a:t>
            </a:r>
          </a:p>
        </p:txBody>
      </p:sp>
      <p:sp>
        <p:nvSpPr>
          <p:cNvPr id="13" name="圆角矩形 37"/>
          <p:cNvSpPr/>
          <p:nvPr/>
        </p:nvSpPr>
        <p:spPr>
          <a:xfrm>
            <a:off x="4684713" y="4076700"/>
            <a:ext cx="1166812" cy="165100"/>
          </a:xfrm>
          <a:prstGeom prst="homePlate">
            <a:avLst/>
          </a:prstGeom>
          <a:ln/>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zh-CN" altLang="en-US" dirty="0">
                <a:latin typeface="+mj-ea"/>
                <a:ea typeface="+mj-ea"/>
              </a:rPr>
              <a:t>统一管理</a:t>
            </a:r>
          </a:p>
        </p:txBody>
      </p:sp>
      <p:sp>
        <p:nvSpPr>
          <p:cNvPr id="14" name="圆角矩形 39"/>
          <p:cNvSpPr/>
          <p:nvPr/>
        </p:nvSpPr>
        <p:spPr>
          <a:xfrm>
            <a:off x="5995988" y="4076700"/>
            <a:ext cx="1168400" cy="165100"/>
          </a:xfrm>
          <a:prstGeom prst="homePlate">
            <a:avLst/>
          </a:prstGeom>
          <a:ln/>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zh-CN" altLang="en-US" dirty="0">
                <a:solidFill>
                  <a:srgbClr val="000000"/>
                </a:solidFill>
                <a:latin typeface="+mj-ea"/>
                <a:ea typeface="+mj-ea"/>
              </a:rPr>
              <a:t>动态调度</a:t>
            </a:r>
          </a:p>
        </p:txBody>
      </p:sp>
      <p:sp>
        <p:nvSpPr>
          <p:cNvPr id="15" name="立方体 43"/>
          <p:cNvSpPr/>
          <p:nvPr/>
        </p:nvSpPr>
        <p:spPr>
          <a:xfrm>
            <a:off x="2428875" y="3690938"/>
            <a:ext cx="1031875" cy="168275"/>
          </a:xfrm>
          <a:prstGeom prst="flowChartDocument">
            <a:avLst/>
          </a:prstGeom>
          <a:solidFill>
            <a:srgbClr val="FFCC99"/>
          </a:solidFill>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zh-CN" altLang="en-US" dirty="0">
                <a:latin typeface="+mj-ea"/>
                <a:ea typeface="+mj-ea"/>
              </a:rPr>
              <a:t>应用</a:t>
            </a:r>
            <a:r>
              <a:rPr lang="en-US" altLang="zh-CN" dirty="0">
                <a:latin typeface="+mj-ea"/>
                <a:ea typeface="+mj-ea"/>
              </a:rPr>
              <a:t>1</a:t>
            </a:r>
            <a:endParaRPr lang="zh-CN" altLang="en-US" dirty="0">
              <a:latin typeface="+mj-ea"/>
              <a:ea typeface="+mj-ea"/>
            </a:endParaRPr>
          </a:p>
        </p:txBody>
      </p:sp>
      <p:sp>
        <p:nvSpPr>
          <p:cNvPr id="16" name="圆角矩形 17"/>
          <p:cNvSpPr/>
          <p:nvPr/>
        </p:nvSpPr>
        <p:spPr>
          <a:xfrm>
            <a:off x="2122488" y="4724400"/>
            <a:ext cx="1474787" cy="165100"/>
          </a:xfrm>
          <a:prstGeom prst="roundRect">
            <a:avLst/>
          </a:prstGeom>
          <a:ln/>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defRPr/>
            </a:pPr>
            <a:r>
              <a:rPr lang="zh-CN" altLang="en-US" dirty="0">
                <a:latin typeface="+mj-ea"/>
                <a:ea typeface="+mj-ea"/>
              </a:rPr>
              <a:t>计算资源</a:t>
            </a:r>
            <a:endParaRPr lang="en-US" altLang="zh-CN" dirty="0">
              <a:latin typeface="+mj-ea"/>
              <a:ea typeface="+mj-ea"/>
            </a:endParaRPr>
          </a:p>
        </p:txBody>
      </p:sp>
      <p:sp>
        <p:nvSpPr>
          <p:cNvPr id="17" name="圆角矩形 23"/>
          <p:cNvSpPr>
            <a:spLocks noChangeArrowheads="1"/>
          </p:cNvSpPr>
          <p:nvPr/>
        </p:nvSpPr>
        <p:spPr bwMode="auto">
          <a:xfrm>
            <a:off x="708025" y="4035425"/>
            <a:ext cx="1106488" cy="247650"/>
          </a:xfrm>
          <a:prstGeom prst="roundRect">
            <a:avLst>
              <a:gd name="adj" fmla="val 16667"/>
            </a:avLst>
          </a:prstGeom>
          <a:noFill/>
          <a:ln w="9525" algn="ctr">
            <a:solidFill>
              <a:srgbClr val="2F2F98"/>
            </a:solidFill>
            <a:round/>
            <a:headEnd/>
            <a:tailEnd/>
          </a:ln>
          <a:effectLst/>
        </p:spPr>
        <p:txBody>
          <a:bodyPr anchor="ctr"/>
          <a:lstStyle/>
          <a:p>
            <a:pPr algn="ctr">
              <a:defRPr/>
            </a:pPr>
            <a:r>
              <a:rPr lang="zh-CN" altLang="en-US" dirty="0">
                <a:solidFill>
                  <a:srgbClr val="000000"/>
                </a:solidFill>
                <a:effectLst>
                  <a:outerShdw blurRad="38100" dist="38100" dir="2700000" algn="tl">
                    <a:srgbClr val="C0C0C0"/>
                  </a:outerShdw>
                </a:effectLst>
                <a:latin typeface="华文细黑" pitchFamily="2" charset="-122"/>
                <a:ea typeface="华文细黑" pitchFamily="2" charset="-122"/>
              </a:rPr>
              <a:t>资源管理</a:t>
            </a:r>
          </a:p>
        </p:txBody>
      </p:sp>
      <p:sp>
        <p:nvSpPr>
          <p:cNvPr id="18" name="圆角矩形 29"/>
          <p:cNvSpPr>
            <a:spLocks noChangeArrowheads="1"/>
          </p:cNvSpPr>
          <p:nvPr/>
        </p:nvSpPr>
        <p:spPr bwMode="auto">
          <a:xfrm>
            <a:off x="708025" y="4681538"/>
            <a:ext cx="1106488" cy="249237"/>
          </a:xfrm>
          <a:prstGeom prst="roundRect">
            <a:avLst>
              <a:gd name="adj" fmla="val 16667"/>
            </a:avLst>
          </a:prstGeom>
          <a:noFill/>
          <a:ln w="9525" algn="ctr">
            <a:solidFill>
              <a:srgbClr val="2F2F98"/>
            </a:solidFill>
            <a:round/>
            <a:headEnd/>
            <a:tailEnd/>
          </a:ln>
          <a:effectLst/>
        </p:spPr>
        <p:txBody>
          <a:bodyPr anchor="ctr"/>
          <a:lstStyle/>
          <a:p>
            <a:pPr algn="ctr" fontAlgn="auto">
              <a:spcBef>
                <a:spcPts val="0"/>
              </a:spcBef>
              <a:spcAft>
                <a:spcPts val="0"/>
              </a:spcAft>
              <a:defRPr/>
            </a:pPr>
            <a:r>
              <a:rPr lang="zh-CN" altLang="en-US" dirty="0">
                <a:solidFill>
                  <a:schemeClr val="dk1"/>
                </a:solidFill>
                <a:latin typeface="+mj-ea"/>
                <a:ea typeface="+mj-ea"/>
              </a:rPr>
              <a:t>资源抽象</a:t>
            </a:r>
          </a:p>
        </p:txBody>
      </p:sp>
      <p:sp>
        <p:nvSpPr>
          <p:cNvPr id="19" name="立方体 44"/>
          <p:cNvSpPr/>
          <p:nvPr/>
        </p:nvSpPr>
        <p:spPr>
          <a:xfrm>
            <a:off x="3536950" y="3690938"/>
            <a:ext cx="1030288" cy="168275"/>
          </a:xfrm>
          <a:prstGeom prst="flowChartDocument">
            <a:avLst/>
          </a:prstGeom>
          <a:solidFill>
            <a:srgbClr val="FFCC99"/>
          </a:solidFill>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zh-CN" altLang="en-US" dirty="0">
                <a:latin typeface="+mj-ea"/>
                <a:ea typeface="+mj-ea"/>
              </a:rPr>
              <a:t>应用</a:t>
            </a:r>
            <a:r>
              <a:rPr lang="en-US" altLang="zh-CN" dirty="0">
                <a:latin typeface="+mj-ea"/>
                <a:ea typeface="+mj-ea"/>
              </a:rPr>
              <a:t>2</a:t>
            </a:r>
            <a:endParaRPr lang="zh-CN" altLang="en-US" dirty="0">
              <a:latin typeface="+mj-ea"/>
              <a:ea typeface="+mj-ea"/>
            </a:endParaRPr>
          </a:p>
        </p:txBody>
      </p:sp>
      <p:sp>
        <p:nvSpPr>
          <p:cNvPr id="20" name="立方体 45"/>
          <p:cNvSpPr/>
          <p:nvPr/>
        </p:nvSpPr>
        <p:spPr>
          <a:xfrm>
            <a:off x="4643438" y="3690938"/>
            <a:ext cx="1031875" cy="168275"/>
          </a:xfrm>
          <a:prstGeom prst="flowChartDocument">
            <a:avLst/>
          </a:prstGeom>
          <a:solidFill>
            <a:srgbClr val="FFCC99"/>
          </a:solidFill>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zh-CN" altLang="en-US">
                <a:latin typeface="+mj-ea"/>
                <a:ea typeface="+mj-ea"/>
              </a:rPr>
              <a:t>应用</a:t>
            </a:r>
            <a:r>
              <a:rPr lang="en-US" altLang="zh-CN">
                <a:latin typeface="+mj-ea"/>
                <a:ea typeface="+mj-ea"/>
              </a:rPr>
              <a:t>3</a:t>
            </a:r>
            <a:endParaRPr lang="zh-CN" altLang="en-US">
              <a:latin typeface="+mj-ea"/>
              <a:ea typeface="+mj-ea"/>
            </a:endParaRPr>
          </a:p>
        </p:txBody>
      </p:sp>
      <p:sp>
        <p:nvSpPr>
          <p:cNvPr id="21" name="立方体 46"/>
          <p:cNvSpPr/>
          <p:nvPr/>
        </p:nvSpPr>
        <p:spPr>
          <a:xfrm>
            <a:off x="5749925" y="3690938"/>
            <a:ext cx="1031875" cy="168275"/>
          </a:xfrm>
          <a:prstGeom prst="flowChartDocument">
            <a:avLst/>
          </a:prstGeom>
          <a:solidFill>
            <a:srgbClr val="FFCC99"/>
          </a:solidFill>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zh-CN" altLang="en-US">
                <a:latin typeface="+mj-ea"/>
                <a:ea typeface="+mj-ea"/>
              </a:rPr>
              <a:t>应用</a:t>
            </a:r>
            <a:r>
              <a:rPr lang="en-US" altLang="zh-CN">
                <a:latin typeface="+mj-ea"/>
                <a:ea typeface="+mj-ea"/>
              </a:rPr>
              <a:t>4</a:t>
            </a:r>
            <a:endParaRPr lang="zh-CN" altLang="en-US">
              <a:latin typeface="+mj-ea"/>
              <a:ea typeface="+mj-ea"/>
            </a:endParaRPr>
          </a:p>
        </p:txBody>
      </p:sp>
      <p:sp>
        <p:nvSpPr>
          <p:cNvPr id="34838" name="Line 25"/>
          <p:cNvSpPr>
            <a:spLocks noChangeShapeType="1"/>
          </p:cNvSpPr>
          <p:nvPr/>
        </p:nvSpPr>
        <p:spPr bwMode="auto">
          <a:xfrm>
            <a:off x="636588" y="3906838"/>
            <a:ext cx="6985000" cy="0"/>
          </a:xfrm>
          <a:prstGeom prst="line">
            <a:avLst/>
          </a:prstGeom>
          <a:noFill/>
          <a:ln w="19050">
            <a:solidFill>
              <a:srgbClr val="FF00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990000">
                      <a:alpha val="50000"/>
                    </a:srgbClr>
                  </a:outerShdw>
                </a:effectLst>
              </a14:hiddenEffects>
            </a:ext>
          </a:extLst>
        </p:spPr>
        <p:txBody>
          <a:bodyPr lIns="80152" tIns="40076" rIns="80152" bIns="40076"/>
          <a:lstStyle/>
          <a:p>
            <a:endParaRPr lang="zh-CN" altLang="en-US"/>
          </a:p>
        </p:txBody>
      </p:sp>
      <p:sp>
        <p:nvSpPr>
          <p:cNvPr id="23" name="圆角矩形 18"/>
          <p:cNvSpPr/>
          <p:nvPr/>
        </p:nvSpPr>
        <p:spPr>
          <a:xfrm>
            <a:off x="7405688" y="3762375"/>
            <a:ext cx="936625" cy="231775"/>
          </a:xfrm>
          <a:prstGeom prst="roundRect">
            <a:avLst/>
          </a:prstGeom>
        </p:spPr>
        <p:style>
          <a:lnRef idx="2">
            <a:schemeClr val="accent3"/>
          </a:lnRef>
          <a:fillRef idx="1">
            <a:schemeClr val="lt1"/>
          </a:fillRef>
          <a:effectRef idx="0">
            <a:schemeClr val="accent3"/>
          </a:effectRef>
          <a:fontRef idx="minor">
            <a:schemeClr val="dk1"/>
          </a:fontRef>
        </p:style>
        <p:txBody>
          <a:bodyPr anchor="ctr"/>
          <a:lstStyle/>
          <a:p>
            <a:pPr algn="ctr">
              <a:defRPr/>
            </a:pPr>
            <a:r>
              <a:rPr lang="zh-CN" altLang="en-US">
                <a:solidFill>
                  <a:srgbClr val="000000"/>
                </a:solidFill>
                <a:latin typeface="华文细黑" pitchFamily="2" charset="-122"/>
                <a:ea typeface="华文细黑" pitchFamily="2" charset="-122"/>
                <a:cs typeface="新宋体-18030"/>
              </a:rPr>
              <a:t>标准接口</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0" y="15875"/>
            <a:ext cx="8201025" cy="460375"/>
          </a:xfrm>
        </p:spPr>
        <p:txBody>
          <a:bodyPr/>
          <a:lstStyle/>
          <a:p>
            <a:r>
              <a:rPr lang="zh-CN" altLang="en-US" smtClean="0"/>
              <a:t>云计算资源池的管理目标架构</a:t>
            </a:r>
          </a:p>
        </p:txBody>
      </p:sp>
      <p:sp>
        <p:nvSpPr>
          <p:cNvPr id="7" name="圆角矩形 6"/>
          <p:cNvSpPr/>
          <p:nvPr/>
        </p:nvSpPr>
        <p:spPr>
          <a:xfrm>
            <a:off x="1377950" y="3406775"/>
            <a:ext cx="3355975" cy="793750"/>
          </a:xfrm>
          <a:prstGeom prst="roundRect">
            <a:avLst/>
          </a:prstGeom>
          <a:solidFill>
            <a:schemeClr val="accent2">
              <a:lumMod val="20000"/>
              <a:lumOff val="80000"/>
            </a:schemeClr>
          </a:solidFill>
          <a:ln w="6350">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lstStyle/>
          <a:p>
            <a:pPr algn="ctr">
              <a:defRPr/>
            </a:pPr>
            <a:r>
              <a:rPr lang="zh-CN" altLang="en-US" sz="1600"/>
              <a:t>虚拟资源</a:t>
            </a:r>
          </a:p>
        </p:txBody>
      </p:sp>
      <p:grpSp>
        <p:nvGrpSpPr>
          <p:cNvPr id="2" name="组合 9"/>
          <p:cNvGrpSpPr/>
          <p:nvPr/>
        </p:nvGrpSpPr>
        <p:grpSpPr>
          <a:xfrm>
            <a:off x="1378569" y="3406779"/>
            <a:ext cx="4728278" cy="1500196"/>
            <a:chOff x="1785918" y="2965236"/>
            <a:chExt cx="5572164" cy="2321152"/>
          </a:xfrm>
          <a:solidFill>
            <a:schemeClr val="accent2">
              <a:lumMod val="40000"/>
              <a:lumOff val="60000"/>
            </a:schemeClr>
          </a:solidFill>
          <a:effectLst>
            <a:outerShdw blurRad="101600" dist="88900" dir="2700000" algn="tl" rotWithShape="0">
              <a:prstClr val="black">
                <a:alpha val="40000"/>
              </a:prstClr>
            </a:outerShdw>
          </a:effectLst>
        </p:grpSpPr>
        <p:sp>
          <p:nvSpPr>
            <p:cNvPr id="8" name="矩形 7"/>
            <p:cNvSpPr/>
            <p:nvPr/>
          </p:nvSpPr>
          <p:spPr>
            <a:xfrm>
              <a:off x="5824316" y="2965236"/>
              <a:ext cx="1533766" cy="1963965"/>
            </a:xfrm>
            <a:prstGeom prst="rect">
              <a:avLst/>
            </a:prstGeom>
            <a:grpFill/>
            <a:ln>
              <a:noFill/>
            </a:ln>
            <a:effectLst/>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zh-CN" altLang="en-US" sz="1600"/>
            </a:p>
          </p:txBody>
        </p:sp>
        <p:sp>
          <p:nvSpPr>
            <p:cNvPr id="9" name="矩形 8"/>
            <p:cNvSpPr/>
            <p:nvPr/>
          </p:nvSpPr>
          <p:spPr>
            <a:xfrm>
              <a:off x="1785918" y="4343406"/>
              <a:ext cx="5572164" cy="942982"/>
            </a:xfrm>
            <a:prstGeom prst="rect">
              <a:avLst/>
            </a:prstGeom>
            <a:grpFill/>
            <a:ln>
              <a:noFill/>
            </a:ln>
            <a:effectLst/>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zh-CN" altLang="en-US" sz="1600"/>
            </a:p>
          </p:txBody>
        </p:sp>
      </p:grpSp>
      <p:sp>
        <p:nvSpPr>
          <p:cNvPr id="35845" name="TextBox 10"/>
          <p:cNvSpPr txBox="1">
            <a:spLocks noChangeArrowheads="1"/>
          </p:cNvSpPr>
          <p:nvPr/>
        </p:nvSpPr>
        <p:spPr bwMode="auto">
          <a:xfrm>
            <a:off x="4954588" y="3784600"/>
            <a:ext cx="11366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r>
              <a:rPr lang="zh-CN" altLang="en-US" sz="1600">
                <a:latin typeface="Arial" pitchFamily="34" charset="0"/>
                <a:ea typeface="宋体" pitchFamily="2" charset="-122"/>
              </a:rPr>
              <a:t>物理资源</a:t>
            </a:r>
          </a:p>
        </p:txBody>
      </p:sp>
      <p:sp>
        <p:nvSpPr>
          <p:cNvPr id="12" name="矩形 11"/>
          <p:cNvSpPr/>
          <p:nvPr/>
        </p:nvSpPr>
        <p:spPr>
          <a:xfrm>
            <a:off x="1743075" y="4454525"/>
            <a:ext cx="4060825" cy="282575"/>
          </a:xfrm>
          <a:prstGeom prst="rect">
            <a:avLst/>
          </a:prstGeom>
          <a:noFill/>
          <a:ln w="3175">
            <a:noFill/>
          </a:ln>
        </p:spPr>
        <p:style>
          <a:lnRef idx="2">
            <a:schemeClr val="accent2"/>
          </a:lnRef>
          <a:fillRef idx="1">
            <a:schemeClr val="lt1"/>
          </a:fillRef>
          <a:effectRef idx="0">
            <a:schemeClr val="accent2"/>
          </a:effectRef>
          <a:fontRef idx="minor">
            <a:schemeClr val="dk1"/>
          </a:fontRef>
        </p:style>
        <p:txBody>
          <a:bodyPr anchor="ctr"/>
          <a:lstStyle/>
          <a:p>
            <a:pPr algn="ctr">
              <a:defRPr/>
            </a:pPr>
            <a:r>
              <a:rPr lang="zh-CN" altLang="en-US" sz="1600"/>
              <a:t>服务器、存储系统、网络设备</a:t>
            </a:r>
            <a:r>
              <a:rPr lang="en-US" altLang="zh-CN" sz="1600"/>
              <a:t>……</a:t>
            </a:r>
            <a:endParaRPr lang="zh-CN" altLang="en-US" sz="1600"/>
          </a:p>
        </p:txBody>
      </p:sp>
      <p:sp>
        <p:nvSpPr>
          <p:cNvPr id="15" name="矩形 14"/>
          <p:cNvSpPr/>
          <p:nvPr/>
        </p:nvSpPr>
        <p:spPr>
          <a:xfrm>
            <a:off x="1233488" y="3835400"/>
            <a:ext cx="3571875" cy="285750"/>
          </a:xfrm>
          <a:prstGeom prst="rect">
            <a:avLst/>
          </a:prstGeom>
          <a:noFill/>
          <a:ln w="3175">
            <a:noFill/>
          </a:ln>
        </p:spPr>
        <p:style>
          <a:lnRef idx="2">
            <a:schemeClr val="accent2"/>
          </a:lnRef>
          <a:fillRef idx="1">
            <a:schemeClr val="lt1"/>
          </a:fillRef>
          <a:effectRef idx="0">
            <a:schemeClr val="accent2"/>
          </a:effectRef>
          <a:fontRef idx="minor">
            <a:schemeClr val="dk1"/>
          </a:fontRef>
        </p:style>
        <p:txBody>
          <a:bodyPr anchor="ctr"/>
          <a:lstStyle/>
          <a:p>
            <a:pPr algn="ctr">
              <a:defRPr/>
            </a:pPr>
            <a:r>
              <a:rPr lang="zh-CN" altLang="en-US" sz="1600"/>
              <a:t>虚拟机系统、存储池、虚拟网络</a:t>
            </a:r>
            <a:r>
              <a:rPr lang="en-US" altLang="zh-CN" sz="1600"/>
              <a:t>……</a:t>
            </a:r>
            <a:endParaRPr lang="zh-CN" altLang="en-US" sz="1600"/>
          </a:p>
        </p:txBody>
      </p:sp>
      <p:cxnSp>
        <p:nvCxnSpPr>
          <p:cNvPr id="24" name="直接连接符 23"/>
          <p:cNvCxnSpPr/>
          <p:nvPr/>
        </p:nvCxnSpPr>
        <p:spPr>
          <a:xfrm>
            <a:off x="733425" y="2190750"/>
            <a:ext cx="7500938" cy="158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4" name="矩形 33"/>
          <p:cNvSpPr/>
          <p:nvPr/>
        </p:nvSpPr>
        <p:spPr>
          <a:xfrm>
            <a:off x="1377950" y="2406650"/>
            <a:ext cx="4713288" cy="857250"/>
          </a:xfrm>
          <a:prstGeom prst="rect">
            <a:avLst/>
          </a:prstGeom>
          <a:solidFill>
            <a:srgbClr val="CCFFCC"/>
          </a:solidFill>
          <a:ln w="6350">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lstStyle/>
          <a:p>
            <a:pPr algn="ctr">
              <a:defRPr/>
            </a:pPr>
            <a:r>
              <a:rPr lang="en-US" altLang="zh-CN" sz="1600">
                <a:solidFill>
                  <a:srgbClr val="000000"/>
                </a:solidFill>
                <a:latin typeface="Arial" pitchFamily="34" charset="0"/>
                <a:ea typeface="华文细黑" pitchFamily="2" charset="-122"/>
              </a:rPr>
              <a:t>IaaS</a:t>
            </a:r>
            <a:r>
              <a:rPr lang="zh-CN" altLang="en-US" sz="1600">
                <a:solidFill>
                  <a:srgbClr val="000000"/>
                </a:solidFill>
                <a:latin typeface="Arial" pitchFamily="34" charset="0"/>
                <a:ea typeface="华文细黑" pitchFamily="2" charset="-122"/>
              </a:rPr>
              <a:t>服务</a:t>
            </a:r>
          </a:p>
        </p:txBody>
      </p:sp>
      <p:sp>
        <p:nvSpPr>
          <p:cNvPr id="42" name="矩形 41"/>
          <p:cNvSpPr/>
          <p:nvPr/>
        </p:nvSpPr>
        <p:spPr>
          <a:xfrm>
            <a:off x="1512888" y="2835275"/>
            <a:ext cx="4398962" cy="282575"/>
          </a:xfrm>
          <a:prstGeom prst="rect">
            <a:avLst/>
          </a:prstGeom>
          <a:noFill/>
          <a:ln w="3175">
            <a:noFill/>
          </a:ln>
        </p:spPr>
        <p:style>
          <a:lnRef idx="2">
            <a:schemeClr val="accent2"/>
          </a:lnRef>
          <a:fillRef idx="1">
            <a:schemeClr val="lt1"/>
          </a:fillRef>
          <a:effectRef idx="0">
            <a:schemeClr val="accent2"/>
          </a:effectRef>
          <a:fontRef idx="minor">
            <a:schemeClr val="dk1"/>
          </a:fontRef>
        </p:style>
        <p:txBody>
          <a:bodyPr anchor="ctr"/>
          <a:lstStyle/>
          <a:p>
            <a:pPr algn="ctr">
              <a:defRPr/>
            </a:pPr>
            <a:r>
              <a:rPr lang="zh-CN" altLang="en-US" sz="1600">
                <a:solidFill>
                  <a:srgbClr val="000000"/>
                </a:solidFill>
                <a:latin typeface="Arial" pitchFamily="34" charset="0"/>
                <a:ea typeface="华文细黑" pitchFamily="2" charset="-122"/>
              </a:rPr>
              <a:t>计算和存储资源的生命周期</a:t>
            </a:r>
            <a:r>
              <a:rPr lang="en-US" altLang="zh-CN" sz="1600">
                <a:solidFill>
                  <a:srgbClr val="000000"/>
                </a:solidFill>
                <a:latin typeface="Arial" pitchFamily="34" charset="0"/>
                <a:ea typeface="华文细黑" pitchFamily="2" charset="-122"/>
              </a:rPr>
              <a:t>……</a:t>
            </a:r>
          </a:p>
        </p:txBody>
      </p:sp>
      <p:sp>
        <p:nvSpPr>
          <p:cNvPr id="47" name="矩形 46"/>
          <p:cNvSpPr/>
          <p:nvPr/>
        </p:nvSpPr>
        <p:spPr>
          <a:xfrm>
            <a:off x="6305550" y="2441575"/>
            <a:ext cx="1285875" cy="2500313"/>
          </a:xfrm>
          <a:prstGeom prst="rect">
            <a:avLst/>
          </a:prstGeom>
          <a:solidFill>
            <a:srgbClr val="FFFFCC"/>
          </a:solidFill>
          <a:ln w="6350">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lstStyle/>
          <a:p>
            <a:pPr algn="ctr">
              <a:defRPr/>
            </a:pPr>
            <a:r>
              <a:rPr lang="zh-CN" altLang="en-US" sz="1600"/>
              <a:t>运营管理</a:t>
            </a:r>
          </a:p>
        </p:txBody>
      </p:sp>
      <p:sp>
        <p:nvSpPr>
          <p:cNvPr id="48" name="矩形 47"/>
          <p:cNvSpPr/>
          <p:nvPr/>
        </p:nvSpPr>
        <p:spPr>
          <a:xfrm>
            <a:off x="6440488" y="3121025"/>
            <a:ext cx="1008062" cy="1571625"/>
          </a:xfrm>
          <a:prstGeom prst="rect">
            <a:avLst/>
          </a:prstGeom>
          <a:noFill/>
          <a:ln w="3175">
            <a:noFill/>
          </a:ln>
        </p:spPr>
        <p:style>
          <a:lnRef idx="2">
            <a:schemeClr val="accent2"/>
          </a:lnRef>
          <a:fillRef idx="1">
            <a:schemeClr val="lt1"/>
          </a:fillRef>
          <a:effectRef idx="0">
            <a:schemeClr val="accent2"/>
          </a:effectRef>
          <a:fontRef idx="minor">
            <a:schemeClr val="dk1"/>
          </a:fontRef>
        </p:style>
        <p:txBody>
          <a:bodyPr anchor="ctr"/>
          <a:lstStyle/>
          <a:p>
            <a:pPr algn="ctr">
              <a:lnSpc>
                <a:spcPct val="120000"/>
              </a:lnSpc>
              <a:defRPr/>
            </a:pPr>
            <a:r>
              <a:rPr lang="zh-CN" altLang="en-US" sz="1600">
                <a:solidFill>
                  <a:srgbClr val="000000"/>
                </a:solidFill>
                <a:latin typeface="Arial" pitchFamily="34" charset="0"/>
                <a:ea typeface="华文细黑" pitchFamily="2" charset="-122"/>
              </a:rPr>
              <a:t>用户管理</a:t>
            </a:r>
          </a:p>
          <a:p>
            <a:pPr algn="ctr">
              <a:lnSpc>
                <a:spcPct val="120000"/>
              </a:lnSpc>
              <a:defRPr/>
            </a:pPr>
            <a:r>
              <a:rPr lang="zh-CN" altLang="en-US" sz="1600">
                <a:solidFill>
                  <a:srgbClr val="000000"/>
                </a:solidFill>
                <a:latin typeface="Arial" pitchFamily="34" charset="0"/>
                <a:ea typeface="华文细黑" pitchFamily="2" charset="-122"/>
              </a:rPr>
              <a:t>服务管理</a:t>
            </a:r>
          </a:p>
          <a:p>
            <a:pPr algn="ctr">
              <a:lnSpc>
                <a:spcPct val="120000"/>
              </a:lnSpc>
              <a:defRPr/>
            </a:pPr>
            <a:r>
              <a:rPr lang="zh-CN" altLang="en-US" sz="1600">
                <a:solidFill>
                  <a:srgbClr val="000000"/>
                </a:solidFill>
                <a:latin typeface="Arial" pitchFamily="34" charset="0"/>
                <a:ea typeface="华文细黑" pitchFamily="2" charset="-122"/>
              </a:rPr>
              <a:t>资源管理</a:t>
            </a:r>
          </a:p>
          <a:p>
            <a:pPr algn="ctr">
              <a:lnSpc>
                <a:spcPct val="120000"/>
              </a:lnSpc>
              <a:defRPr/>
            </a:pPr>
            <a:r>
              <a:rPr lang="zh-CN" altLang="en-US" sz="1600">
                <a:solidFill>
                  <a:srgbClr val="000000"/>
                </a:solidFill>
                <a:latin typeface="Arial" pitchFamily="34" charset="0"/>
                <a:ea typeface="华文细黑" pitchFamily="2" charset="-122"/>
              </a:rPr>
              <a:t>部署调度</a:t>
            </a:r>
          </a:p>
          <a:p>
            <a:pPr algn="ctr">
              <a:lnSpc>
                <a:spcPct val="120000"/>
              </a:lnSpc>
              <a:defRPr/>
            </a:pPr>
            <a:r>
              <a:rPr lang="zh-CN" altLang="en-US" sz="1600">
                <a:solidFill>
                  <a:srgbClr val="000000"/>
                </a:solidFill>
                <a:latin typeface="Arial" pitchFamily="34" charset="0"/>
                <a:ea typeface="华文细黑" pitchFamily="2" charset="-122"/>
              </a:rPr>
              <a:t>安全管理</a:t>
            </a:r>
          </a:p>
          <a:p>
            <a:pPr algn="ctr">
              <a:lnSpc>
                <a:spcPct val="120000"/>
              </a:lnSpc>
              <a:defRPr/>
            </a:pPr>
            <a:r>
              <a:rPr lang="en-US" altLang="zh-CN" sz="1600">
                <a:solidFill>
                  <a:srgbClr val="000000"/>
                </a:solidFill>
                <a:latin typeface="Arial" pitchFamily="34" charset="0"/>
                <a:ea typeface="华文细黑" pitchFamily="2" charset="-122"/>
              </a:rPr>
              <a:t>……</a:t>
            </a:r>
          </a:p>
        </p:txBody>
      </p:sp>
      <p:sp>
        <p:nvSpPr>
          <p:cNvPr id="50" name="上箭头 49"/>
          <p:cNvSpPr/>
          <p:nvPr/>
        </p:nvSpPr>
        <p:spPr>
          <a:xfrm>
            <a:off x="2711450" y="1881188"/>
            <a:ext cx="357188" cy="500062"/>
          </a:xfrm>
          <a:prstGeom prst="upArrow">
            <a:avLst/>
          </a:prstGeom>
          <a:ln w="12700"/>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800"/>
          </a:p>
        </p:txBody>
      </p:sp>
      <p:sp>
        <p:nvSpPr>
          <p:cNvPr id="51" name="上箭头 50"/>
          <p:cNvSpPr/>
          <p:nvPr/>
        </p:nvSpPr>
        <p:spPr>
          <a:xfrm>
            <a:off x="4500563" y="1881188"/>
            <a:ext cx="357187" cy="500062"/>
          </a:xfrm>
          <a:prstGeom prst="upArrow">
            <a:avLst/>
          </a:prstGeom>
          <a:ln w="12700"/>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800"/>
          </a:p>
        </p:txBody>
      </p:sp>
      <p:sp>
        <p:nvSpPr>
          <p:cNvPr id="52" name="上箭头 51"/>
          <p:cNvSpPr/>
          <p:nvPr/>
        </p:nvSpPr>
        <p:spPr>
          <a:xfrm>
            <a:off x="6516688" y="1881188"/>
            <a:ext cx="357187" cy="500062"/>
          </a:xfrm>
          <a:prstGeom prst="upArrow">
            <a:avLst/>
          </a:prstGeom>
          <a:ln w="12700"/>
        </p:spPr>
        <p:style>
          <a:lnRef idx="2">
            <a:schemeClr val="dk1"/>
          </a:lnRef>
          <a:fillRef idx="1">
            <a:schemeClr val="lt1"/>
          </a:fillRef>
          <a:effectRef idx="0">
            <a:schemeClr val="dk1"/>
          </a:effectRef>
          <a:fontRef idx="minor">
            <a:schemeClr val="dk1"/>
          </a:fontRef>
        </p:style>
        <p:txBody>
          <a:bodyPr anchor="ctr"/>
          <a:lstStyle/>
          <a:p>
            <a:pPr algn="ctr">
              <a:defRPr/>
            </a:pPr>
            <a:endParaRPr lang="zh-CN" altLang="en-US" sz="1800"/>
          </a:p>
        </p:txBody>
      </p:sp>
      <p:sp>
        <p:nvSpPr>
          <p:cNvPr id="54" name="矩形 53"/>
          <p:cNvSpPr/>
          <p:nvPr/>
        </p:nvSpPr>
        <p:spPr>
          <a:xfrm>
            <a:off x="1331913" y="1406525"/>
            <a:ext cx="6686550" cy="428625"/>
          </a:xfrm>
          <a:prstGeom prst="rect">
            <a:avLst/>
          </a:prstGeom>
          <a:solidFill>
            <a:srgbClr val="FFCCFF"/>
          </a:solidFill>
          <a:ln w="6350">
            <a:no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a:lstStyle/>
          <a:p>
            <a:pPr algn="ctr">
              <a:defRPr/>
            </a:pPr>
            <a:r>
              <a:rPr lang="en-US" altLang="zh-CN" sz="1600">
                <a:solidFill>
                  <a:srgbClr val="000000"/>
                </a:solidFill>
                <a:latin typeface="Arial" pitchFamily="34" charset="0"/>
                <a:ea typeface="华文细黑" pitchFamily="2" charset="-122"/>
              </a:rPr>
              <a:t>IT</a:t>
            </a:r>
            <a:r>
              <a:rPr lang="zh-CN" altLang="en-US" sz="1600">
                <a:solidFill>
                  <a:srgbClr val="000000"/>
                </a:solidFill>
                <a:latin typeface="Arial" pitchFamily="34" charset="0"/>
                <a:ea typeface="华文细黑" pitchFamily="2" charset="-122"/>
              </a:rPr>
              <a:t>支撑系统</a:t>
            </a:r>
          </a:p>
        </p:txBody>
      </p:sp>
      <p:sp>
        <p:nvSpPr>
          <p:cNvPr id="35857" name="矩形 32"/>
          <p:cNvSpPr>
            <a:spLocks noChangeArrowheads="1"/>
          </p:cNvSpPr>
          <p:nvPr/>
        </p:nvSpPr>
        <p:spPr bwMode="auto">
          <a:xfrm>
            <a:off x="1258888" y="5157788"/>
            <a:ext cx="6842125" cy="1439862"/>
          </a:xfrm>
          <a:prstGeom prst="rect">
            <a:avLst/>
          </a:prstGeom>
          <a:noFill/>
          <a:ln w="19050" cap="rnd" algn="ctr">
            <a:solidFill>
              <a:srgbClr val="008000"/>
            </a:solidFill>
            <a:prstDash val="sysDot"/>
            <a:miter lim="800000"/>
            <a:headEnd/>
            <a:tailEnd/>
          </a:ln>
          <a:effectLst>
            <a:prstShdw prst="shdw17" dist="17961" dir="2700000">
              <a:srgbClr val="8C8C8C"/>
            </a:prstShdw>
          </a:effectLst>
          <a:extLst>
            <a:ext uri="{909E8E84-426E-40DD-AFC4-6F175D3DCCD1}">
              <a14:hiddenFill xmlns:a14="http://schemas.microsoft.com/office/drawing/2010/main">
                <a:solidFill>
                  <a:srgbClr val="FFFFFF"/>
                </a:solidFill>
              </a14:hiddenFill>
            </a:ext>
          </a:extLst>
        </p:spPr>
        <p:txBody>
          <a:bodyPr lIns="54000" tIns="44450" rIns="126000" bIns="44450" anchor="ctr"/>
          <a:lstStyle/>
          <a:p>
            <a:pPr eaLnBrk="0" hangingPunct="0">
              <a:lnSpc>
                <a:spcPct val="105000"/>
              </a:lnSpc>
              <a:spcBef>
                <a:spcPct val="10000"/>
              </a:spcBef>
              <a:buClr>
                <a:srgbClr val="000099"/>
              </a:buClr>
              <a:buFont typeface="Wingdings" pitchFamily="2" charset="2"/>
              <a:buNone/>
            </a:pPr>
            <a:r>
              <a:rPr lang="zh-CN" altLang="en-US" sz="1600"/>
              <a:t>为实现向</a:t>
            </a:r>
            <a:r>
              <a:rPr lang="en-US" altLang="zh-CN" sz="1600"/>
              <a:t>IT</a:t>
            </a:r>
            <a:r>
              <a:rPr lang="zh-CN" altLang="en-US" sz="1600"/>
              <a:t>支撑系统提供按需的</a:t>
            </a:r>
            <a:r>
              <a:rPr lang="en-US" altLang="zh-CN" sz="1600"/>
              <a:t>IaaS</a:t>
            </a:r>
            <a:r>
              <a:rPr lang="zh-CN" altLang="en-US" sz="1600"/>
              <a:t>资源服务，需要实现对底层资源的</a:t>
            </a:r>
            <a:r>
              <a:rPr lang="zh-CN" altLang="en-US" sz="1600">
                <a:solidFill>
                  <a:srgbClr val="FF0000"/>
                </a:solidFill>
              </a:rPr>
              <a:t>统一管理</a:t>
            </a:r>
            <a:r>
              <a:rPr lang="zh-CN" altLang="en-US" sz="1600"/>
              <a:t>，管理平台负责硬件资源的</a:t>
            </a:r>
            <a:r>
              <a:rPr lang="zh-CN" altLang="en-US" sz="1600">
                <a:solidFill>
                  <a:srgbClr val="FF0000"/>
                </a:solidFill>
              </a:rPr>
              <a:t>生命周期管理</a:t>
            </a:r>
            <a:r>
              <a:rPr lang="zh-CN" altLang="en-US" sz="1600"/>
              <a:t>，将</a:t>
            </a:r>
            <a:r>
              <a:rPr lang="zh-CN" altLang="en-US" sz="1600">
                <a:solidFill>
                  <a:srgbClr val="FF0000"/>
                </a:solidFill>
              </a:rPr>
              <a:t>资源能力包装成服务形式</a:t>
            </a:r>
            <a:r>
              <a:rPr lang="zh-CN" altLang="en-US" sz="1600"/>
              <a:t>，以直观易操作的模式对上层应用系统提供资源支持，基于资源请求或策略对资源进行</a:t>
            </a:r>
            <a:r>
              <a:rPr lang="zh-CN" altLang="en-US" sz="1600">
                <a:solidFill>
                  <a:srgbClr val="FF0000"/>
                </a:solidFill>
              </a:rPr>
              <a:t>自动部署调度</a:t>
            </a:r>
            <a:r>
              <a:rPr lang="zh-CN" altLang="en-US" sz="1600"/>
              <a:t>，并实现相关的用户和安全管理</a:t>
            </a:r>
          </a:p>
        </p:txBody>
      </p:sp>
      <p:grpSp>
        <p:nvGrpSpPr>
          <p:cNvPr id="35858" name="Group 18"/>
          <p:cNvGrpSpPr>
            <a:grpSpLocks/>
          </p:cNvGrpSpPr>
          <p:nvPr/>
        </p:nvGrpSpPr>
        <p:grpSpPr bwMode="auto">
          <a:xfrm>
            <a:off x="7310438" y="188913"/>
            <a:ext cx="1582737" cy="747712"/>
            <a:chOff x="1429" y="2341"/>
            <a:chExt cx="2993" cy="1270"/>
          </a:xfrm>
        </p:grpSpPr>
        <p:sp>
          <p:nvSpPr>
            <p:cNvPr id="35859" name="矩形 33"/>
            <p:cNvSpPr>
              <a:spLocks noChangeArrowheads="1"/>
            </p:cNvSpPr>
            <p:nvPr/>
          </p:nvSpPr>
          <p:spPr bwMode="auto">
            <a:xfrm>
              <a:off x="1429" y="2341"/>
              <a:ext cx="1406" cy="350"/>
            </a:xfrm>
            <a:prstGeom prst="rect">
              <a:avLst/>
            </a:prstGeom>
            <a:solidFill>
              <a:srgbClr val="CCFFCC"/>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5860" name="矩形 46"/>
            <p:cNvSpPr>
              <a:spLocks noChangeArrowheads="1"/>
            </p:cNvSpPr>
            <p:nvPr/>
          </p:nvSpPr>
          <p:spPr bwMode="auto">
            <a:xfrm>
              <a:off x="3787" y="2341"/>
              <a:ext cx="635" cy="1270"/>
            </a:xfrm>
            <a:prstGeom prst="rect">
              <a:avLst/>
            </a:prstGeom>
            <a:solidFill>
              <a:srgbClr val="FF0000"/>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5861" name="矩形 33"/>
            <p:cNvSpPr>
              <a:spLocks noChangeArrowheads="1"/>
            </p:cNvSpPr>
            <p:nvPr/>
          </p:nvSpPr>
          <p:spPr bwMode="auto">
            <a:xfrm>
              <a:off x="1445" y="2795"/>
              <a:ext cx="1406" cy="350"/>
            </a:xfrm>
            <a:prstGeom prst="rect">
              <a:avLst/>
            </a:prstGeom>
            <a:solidFill>
              <a:srgbClr val="CCFFFF"/>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5862" name="矩形 33"/>
            <p:cNvSpPr>
              <a:spLocks noChangeArrowheads="1"/>
            </p:cNvSpPr>
            <p:nvPr/>
          </p:nvSpPr>
          <p:spPr bwMode="auto">
            <a:xfrm>
              <a:off x="1450" y="3249"/>
              <a:ext cx="1270" cy="350"/>
            </a:xfrm>
            <a:prstGeom prst="rect">
              <a:avLst/>
            </a:prstGeom>
            <a:solidFill>
              <a:srgbClr val="FFFF99"/>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5863" name="矩形 33"/>
            <p:cNvSpPr>
              <a:spLocks noChangeArrowheads="1"/>
            </p:cNvSpPr>
            <p:nvPr/>
          </p:nvSpPr>
          <p:spPr bwMode="auto">
            <a:xfrm>
              <a:off x="2789" y="3249"/>
              <a:ext cx="908" cy="350"/>
            </a:xfrm>
            <a:prstGeom prst="rect">
              <a:avLst/>
            </a:prstGeom>
            <a:solidFill>
              <a:srgbClr val="FFFFCC"/>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sp>
          <p:nvSpPr>
            <p:cNvPr id="35864" name="矩形 33"/>
            <p:cNvSpPr>
              <a:spLocks noChangeArrowheads="1"/>
            </p:cNvSpPr>
            <p:nvPr/>
          </p:nvSpPr>
          <p:spPr bwMode="auto">
            <a:xfrm>
              <a:off x="2925" y="2341"/>
              <a:ext cx="771" cy="817"/>
            </a:xfrm>
            <a:prstGeom prst="rect">
              <a:avLst/>
            </a:prstGeom>
            <a:solidFill>
              <a:srgbClr val="99CCFF"/>
            </a:solidFill>
            <a:ln>
              <a:noFill/>
            </a:ln>
            <a:effectLst>
              <a:outerShdw dist="38100" dir="2700000" algn="tl" rotWithShape="0">
                <a:srgbClr val="000000">
                  <a:alpha val="39998"/>
                </a:srgbClr>
              </a:outerShdw>
            </a:effectLst>
            <a:extLst>
              <a:ext uri="{91240B29-F687-4F45-9708-019B960494DF}">
                <a14:hiddenLine xmlns:a14="http://schemas.microsoft.com/office/drawing/2010/main" w="6350" algn="ctr">
                  <a:solidFill>
                    <a:srgbClr val="000000"/>
                  </a:solidFill>
                  <a:miter lim="800000"/>
                  <a:headEnd/>
                  <a:tailEnd/>
                </a14:hiddenLine>
              </a:ext>
            </a:extLst>
          </p:spPr>
          <p:txBody>
            <a:bodyPr anchor="ctr" anchorCtr="1"/>
            <a:lstStyle/>
            <a:p>
              <a:pPr algn="ctr"/>
              <a:endParaRPr lang="zh-CN" altLang="en-US" sz="1600">
                <a:solidFill>
                  <a:srgbClr val="000000"/>
                </a:solidFill>
                <a:latin typeface="Arial" pitchFamily="34" charset="0"/>
                <a:ea typeface="华文细黑" pitchFamily="2" charset="-122"/>
              </a:endParaRP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标题 1"/>
          <p:cNvSpPr>
            <a:spLocks noGrp="1"/>
          </p:cNvSpPr>
          <p:nvPr>
            <p:ph type="title"/>
          </p:nvPr>
        </p:nvSpPr>
        <p:spPr>
          <a:xfrm>
            <a:off x="0" y="15875"/>
            <a:ext cx="8201025" cy="460375"/>
          </a:xfrm>
        </p:spPr>
        <p:txBody>
          <a:bodyPr/>
          <a:lstStyle/>
          <a:p>
            <a:r>
              <a:rPr lang="zh-CN" altLang="en-US" smtClean="0"/>
              <a:t>分布式任务和数据管理技术</a:t>
            </a:r>
          </a:p>
        </p:txBody>
      </p:sp>
      <p:sp>
        <p:nvSpPr>
          <p:cNvPr id="36867" name="内容占位符 2"/>
          <p:cNvSpPr>
            <a:spLocks noGrp="1"/>
          </p:cNvSpPr>
          <p:nvPr>
            <p:ph idx="1"/>
          </p:nvPr>
        </p:nvSpPr>
        <p:spPr>
          <a:xfrm>
            <a:off x="457200" y="933450"/>
            <a:ext cx="8229600" cy="2135188"/>
          </a:xfrm>
        </p:spPr>
        <p:txBody>
          <a:bodyPr/>
          <a:lstStyle/>
          <a:p>
            <a:r>
              <a:rPr lang="zh-CN" altLang="en-US" b="0" smtClean="0"/>
              <a:t>云计算对分布式任务和数据管理的需求主要来源于业界对“大数据”的处理需求。分布式任务管理技术要实现在底层大规模</a:t>
            </a:r>
            <a:r>
              <a:rPr lang="en-US" altLang="zh-CN" b="0" smtClean="0"/>
              <a:t>ICT </a:t>
            </a:r>
            <a:r>
              <a:rPr lang="zh-CN" altLang="en-US" b="0" smtClean="0"/>
              <a:t>资源上进行分布式的海量计算，并对大量结构化与非结构化的数据进行存储与管理。目前的分布式任务管理技术主要包括分布式计算、分布式文件系统和非结构化分布式数据库技术等。</a:t>
            </a:r>
            <a:endParaRPr lang="zh-CN" altLang="en-US" smtClean="0"/>
          </a:p>
        </p:txBody>
      </p:sp>
      <p:pic>
        <p:nvPicPr>
          <p:cNvPr id="36868" name="Picture 5" descr="http://img.gu518.com/20110321/31431932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35150" y="2997200"/>
            <a:ext cx="4762500" cy="271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标题 1"/>
          <p:cNvSpPr>
            <a:spLocks noGrp="1"/>
          </p:cNvSpPr>
          <p:nvPr>
            <p:ph type="title"/>
          </p:nvPr>
        </p:nvSpPr>
        <p:spPr>
          <a:xfrm>
            <a:off x="0" y="15875"/>
            <a:ext cx="8201025" cy="460375"/>
          </a:xfrm>
        </p:spPr>
        <p:txBody>
          <a:bodyPr/>
          <a:lstStyle/>
          <a:p>
            <a:r>
              <a:rPr lang="zh-CN" altLang="en-US" smtClean="0"/>
              <a:t>目录</a:t>
            </a:r>
          </a:p>
        </p:txBody>
      </p:sp>
      <p:sp>
        <p:nvSpPr>
          <p:cNvPr id="37891" name="内容占位符 2"/>
          <p:cNvSpPr>
            <a:spLocks noGrp="1"/>
          </p:cNvSpPr>
          <p:nvPr>
            <p:ph idx="1"/>
          </p:nvPr>
        </p:nvSpPr>
        <p:spPr>
          <a:xfrm>
            <a:off x="1692275" y="1989138"/>
            <a:ext cx="5410200" cy="2782887"/>
          </a:xfrm>
        </p:spPr>
        <p:txBody>
          <a:bodyPr/>
          <a:lstStyle/>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基本概念</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市场及产业发展状况</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标准建设</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关键技术</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solidFill>
                  <a:srgbClr val="FF0000"/>
                </a:solidFill>
                <a:latin typeface="Cambria" pitchFamily="18" charset="0"/>
                <a:ea typeface="华文细黑" pitchFamily="2" charset="-122"/>
              </a:rPr>
              <a:t>云计算在运营商应用现状介绍</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标题 1"/>
          <p:cNvSpPr>
            <a:spLocks noGrp="1"/>
          </p:cNvSpPr>
          <p:nvPr>
            <p:ph type="title"/>
          </p:nvPr>
        </p:nvSpPr>
        <p:spPr>
          <a:xfrm>
            <a:off x="0" y="15875"/>
            <a:ext cx="8201025" cy="460375"/>
          </a:xfrm>
        </p:spPr>
        <p:txBody>
          <a:bodyPr/>
          <a:lstStyle/>
          <a:p>
            <a:pPr>
              <a:defRPr/>
            </a:pPr>
            <a:r>
              <a:rPr lang="zh-CN" altLang="en-US" dirty="0">
                <a:effectLst>
                  <a:outerShdw blurRad="38100" dist="38100" dir="2700000" algn="tl">
                    <a:srgbClr val="000000">
                      <a:alpha val="43137"/>
                    </a:srgbClr>
                  </a:outerShdw>
                </a:effectLst>
                <a:latin typeface="Arial Narrow" pitchFamily="34" charset="0"/>
                <a:ea typeface="仿宋_GB2312" pitchFamily="49" charset="-122"/>
              </a:rPr>
              <a:t>云计算 </a:t>
            </a:r>
            <a:r>
              <a:rPr lang="en-US" altLang="ko-KR" dirty="0">
                <a:effectLst>
                  <a:outerShdw blurRad="38100" dist="38100" dir="2700000" algn="tl">
                    <a:srgbClr val="000000">
                      <a:alpha val="43137"/>
                    </a:srgbClr>
                  </a:outerShdw>
                </a:effectLst>
                <a:latin typeface="Arial Narrow" pitchFamily="34" charset="0"/>
                <a:ea typeface="仿宋_GB2312" pitchFamily="49" charset="-122"/>
              </a:rPr>
              <a:t>– </a:t>
            </a:r>
            <a:r>
              <a:rPr lang="en-US" altLang="zh-CN" dirty="0">
                <a:effectLst>
                  <a:outerShdw blurRad="38100" dist="38100" dir="2700000" algn="tl">
                    <a:srgbClr val="000000">
                      <a:alpha val="43137"/>
                    </a:srgbClr>
                  </a:outerShdw>
                </a:effectLst>
                <a:latin typeface="Arial Narrow" pitchFamily="34" charset="0"/>
                <a:ea typeface="仿宋_GB2312" pitchFamily="49" charset="-122"/>
              </a:rPr>
              <a:t>NIST</a:t>
            </a:r>
            <a:r>
              <a:rPr lang="zh-CN" altLang="en-US" dirty="0">
                <a:effectLst>
                  <a:outerShdw blurRad="38100" dist="38100" dir="2700000" algn="tl">
                    <a:srgbClr val="000000">
                      <a:alpha val="43137"/>
                    </a:srgbClr>
                  </a:outerShdw>
                </a:effectLst>
                <a:latin typeface="Arial Narrow" pitchFamily="34" charset="0"/>
                <a:ea typeface="仿宋_GB2312" pitchFamily="49" charset="-122"/>
              </a:rPr>
              <a:t>定义</a:t>
            </a:r>
            <a:endParaRPr lang="en-US" altLang="zh-CN" dirty="0">
              <a:effectLst>
                <a:outerShdw blurRad="38100" dist="38100" dir="2700000" algn="tl">
                  <a:srgbClr val="000000">
                    <a:alpha val="43137"/>
                  </a:srgbClr>
                </a:outerShdw>
              </a:effectLst>
              <a:latin typeface="Arial Narrow" pitchFamily="34" charset="0"/>
              <a:ea typeface="仿宋_GB2312" pitchFamily="49" charset="-122"/>
            </a:endParaRPr>
          </a:p>
        </p:txBody>
      </p:sp>
      <p:sp>
        <p:nvSpPr>
          <p:cNvPr id="11267" name="内容占位符 2"/>
          <p:cNvSpPr>
            <a:spLocks noGrp="1"/>
          </p:cNvSpPr>
          <p:nvPr>
            <p:ph idx="1"/>
          </p:nvPr>
        </p:nvSpPr>
        <p:spPr>
          <a:xfrm>
            <a:off x="0" y="763588"/>
            <a:ext cx="8921750" cy="1512887"/>
          </a:xfrm>
        </p:spPr>
        <p:txBody>
          <a:bodyPr/>
          <a:lstStyle/>
          <a:p>
            <a:r>
              <a:rPr lang="zh-CN" altLang="en-US" smtClean="0">
                <a:latin typeface="Arial Narrow" pitchFamily="34" charset="0"/>
                <a:ea typeface="仿宋_GB2312"/>
                <a:cs typeface="仿宋_GB2312"/>
              </a:rPr>
              <a:t>云计算模型能</a:t>
            </a:r>
            <a:r>
              <a:rPr lang="zh-CN" altLang="en-US" smtClean="0">
                <a:solidFill>
                  <a:srgbClr val="FF0000"/>
                </a:solidFill>
                <a:latin typeface="Arial Narrow" pitchFamily="34" charset="0"/>
                <a:ea typeface="仿宋_GB2312"/>
                <a:cs typeface="仿宋_GB2312"/>
              </a:rPr>
              <a:t>以按需方式，通过网络，方便的访问</a:t>
            </a:r>
            <a:r>
              <a:rPr lang="zh-CN" altLang="en-US" smtClean="0">
                <a:latin typeface="Arial Narrow" pitchFamily="34" charset="0"/>
                <a:ea typeface="仿宋_GB2312"/>
                <a:cs typeface="仿宋_GB2312"/>
              </a:rPr>
              <a:t>云系统的</a:t>
            </a:r>
            <a:r>
              <a:rPr lang="zh-CN" altLang="en-US" smtClean="0">
                <a:solidFill>
                  <a:srgbClr val="FF0000"/>
                </a:solidFill>
                <a:latin typeface="Arial Narrow" pitchFamily="34" charset="0"/>
                <a:ea typeface="仿宋_GB2312"/>
                <a:cs typeface="仿宋_GB2312"/>
              </a:rPr>
              <a:t>可配置计算资源共享池</a:t>
            </a:r>
            <a:r>
              <a:rPr lang="en-US" altLang="ja-JP" smtClean="0">
                <a:latin typeface="Arial Narrow" pitchFamily="34" charset="0"/>
                <a:ea typeface="仿宋_GB2312"/>
                <a:cs typeface="仿宋_GB2312"/>
              </a:rPr>
              <a:t>(</a:t>
            </a:r>
            <a:r>
              <a:rPr lang="zh-CN" altLang="en-US" smtClean="0">
                <a:latin typeface="Arial Narrow" pitchFamily="34" charset="0"/>
                <a:ea typeface="仿宋_GB2312"/>
                <a:cs typeface="仿宋_GB2312"/>
              </a:rPr>
              <a:t>比如：网络，服务器，存储，应用程序和服务</a:t>
            </a:r>
            <a:r>
              <a:rPr lang="en-US" altLang="ja-JP" smtClean="0">
                <a:latin typeface="Arial Narrow" pitchFamily="34" charset="0"/>
                <a:ea typeface="仿宋_GB2312"/>
                <a:cs typeface="仿宋_GB2312"/>
              </a:rPr>
              <a:t>) </a:t>
            </a:r>
            <a:r>
              <a:rPr lang="zh-CN" altLang="en-US" smtClean="0">
                <a:latin typeface="Arial Narrow" pitchFamily="34" charset="0"/>
                <a:ea typeface="仿宋_GB2312"/>
                <a:cs typeface="仿宋_GB2312"/>
              </a:rPr>
              <a:t>。同时它以</a:t>
            </a:r>
            <a:r>
              <a:rPr lang="zh-CN" altLang="en-US" smtClean="0">
                <a:solidFill>
                  <a:srgbClr val="FF0000"/>
                </a:solidFill>
                <a:latin typeface="Arial Narrow" pitchFamily="34" charset="0"/>
                <a:ea typeface="仿宋_GB2312"/>
                <a:cs typeface="仿宋_GB2312"/>
              </a:rPr>
              <a:t>最少的管理开销</a:t>
            </a:r>
            <a:r>
              <a:rPr lang="zh-CN" altLang="en-US" smtClean="0">
                <a:latin typeface="Arial Narrow" pitchFamily="34" charset="0"/>
                <a:ea typeface="仿宋_GB2312"/>
                <a:cs typeface="仿宋_GB2312"/>
              </a:rPr>
              <a:t>及最少的与供应商的交互，</a:t>
            </a:r>
            <a:r>
              <a:rPr lang="zh-CN" altLang="en-US" smtClean="0">
                <a:solidFill>
                  <a:srgbClr val="FF0000"/>
                </a:solidFill>
                <a:latin typeface="Arial Narrow" pitchFamily="34" charset="0"/>
                <a:ea typeface="仿宋_GB2312"/>
                <a:cs typeface="仿宋_GB2312"/>
              </a:rPr>
              <a:t>迅速配置提供或释放资源</a:t>
            </a:r>
            <a:r>
              <a:rPr lang="zh-CN" altLang="en-US" smtClean="0">
                <a:latin typeface="Arial Narrow" pitchFamily="34" charset="0"/>
                <a:ea typeface="仿宋_GB2312"/>
                <a:cs typeface="仿宋_GB2312"/>
              </a:rPr>
              <a:t>。</a:t>
            </a:r>
            <a:endParaRPr lang="en-US" altLang="ja-JP" smtClean="0">
              <a:latin typeface="Arial Narrow" pitchFamily="34" charset="0"/>
              <a:ea typeface="仿宋_GB2312"/>
              <a:cs typeface="仿宋_GB2312"/>
            </a:endParaRPr>
          </a:p>
          <a:p>
            <a:endParaRPr lang="zh-CN" altLang="en-US" smtClean="0"/>
          </a:p>
        </p:txBody>
      </p:sp>
      <p:pic>
        <p:nvPicPr>
          <p:cNvPr id="4" name="Picture 2" descr="http://www.ge.com/innovation/timeline/images/innovation/1879_in_dynamo_m.jpg"/>
          <p:cNvPicPr>
            <a:picLocks noChangeAspect="1" noChangeArrowheads="1"/>
          </p:cNvPicPr>
          <p:nvPr/>
        </p:nvPicPr>
        <p:blipFill>
          <a:blip r:embed="rId3" cstate="print"/>
          <a:srcRect/>
          <a:stretch>
            <a:fillRect/>
          </a:stretch>
        </p:blipFill>
        <p:spPr bwMode="auto">
          <a:xfrm>
            <a:off x="1071539" y="2341534"/>
            <a:ext cx="1143008" cy="88359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4" descr="http://www.ge.com/innovation/timeline/images/innovation/1882_in_central-power_m.jpg"/>
          <p:cNvPicPr>
            <a:picLocks noChangeAspect="1" noChangeArrowheads="1"/>
          </p:cNvPicPr>
          <p:nvPr/>
        </p:nvPicPr>
        <p:blipFill>
          <a:blip r:embed="rId4" cstate="print"/>
          <a:srcRect/>
          <a:stretch>
            <a:fillRect/>
          </a:stretch>
        </p:blipFill>
        <p:spPr bwMode="auto">
          <a:xfrm>
            <a:off x="3500430" y="2359008"/>
            <a:ext cx="1217879" cy="9112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270" name="Rectangle 7"/>
          <p:cNvSpPr>
            <a:spLocks noChangeArrowheads="1"/>
          </p:cNvSpPr>
          <p:nvPr/>
        </p:nvSpPr>
        <p:spPr bwMode="auto">
          <a:xfrm>
            <a:off x="500063" y="3513138"/>
            <a:ext cx="17859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buClr>
                <a:srgbClr val="000000"/>
              </a:buClr>
              <a:buSzPct val="100000"/>
              <a:buFont typeface="Times New Roman" pitchFamily="18" charset="0"/>
              <a:buNone/>
            </a:pPr>
            <a:r>
              <a:rPr lang="en-US" altLang="ko-KR">
                <a:latin typeface="Arial Narrow" pitchFamily="34" charset="0"/>
                <a:ea typeface="仿宋_GB2312"/>
                <a:cs typeface="仿宋_GB2312"/>
              </a:rPr>
              <a:t>1879, The dynamo</a:t>
            </a:r>
            <a:endParaRPr lang="ko-KR" altLang="en-US">
              <a:latin typeface="Arial Narrow" pitchFamily="34" charset="0"/>
              <a:ea typeface="仿宋_GB2312"/>
              <a:cs typeface="仿宋_GB2312"/>
            </a:endParaRPr>
          </a:p>
        </p:txBody>
      </p:sp>
      <p:pic>
        <p:nvPicPr>
          <p:cNvPr id="11271" name="Picture 8" descr="http://tbn3.google.com/images?q=tbn:ICOjlO-QXd4w-M:http://img.archiexpo.com/images_ae/photo-g/power-socket-20808.jp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29563" y="3055938"/>
            <a:ext cx="714375"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http://tbn2.google.com/images?q=tbn:QnpO-SWyFOc81M:http://upload.wikimedia.org/wikipedia/commons/6/6d/Datacenter-telecom_edit.jpg">
            <a:hlinkClick r:id="rId7"/>
          </p:cNvPr>
          <p:cNvPicPr>
            <a:picLocks noChangeAspect="1" noChangeArrowheads="1"/>
          </p:cNvPicPr>
          <p:nvPr/>
        </p:nvPicPr>
        <p:blipFill>
          <a:blip r:embed="rId8" cstate="print"/>
          <a:srcRect/>
          <a:stretch>
            <a:fillRect/>
          </a:stretch>
        </p:blipFill>
        <p:spPr bwMode="auto">
          <a:xfrm>
            <a:off x="1085818" y="5126047"/>
            <a:ext cx="1143008" cy="9048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14" descr="http://tbn3.google.com/images?q=tbn:Km4bxc4emK1mGM:http://img.etnews.co.kr/photonews/0902/090204062044_482425627_b.jpg">
            <a:hlinkClick r:id="rId9"/>
          </p:cNvPr>
          <p:cNvPicPr>
            <a:picLocks noChangeAspect="1" noChangeArrowheads="1"/>
          </p:cNvPicPr>
          <p:nvPr/>
        </p:nvPicPr>
        <p:blipFill>
          <a:blip r:embed="rId10" cstate="print"/>
          <a:srcRect/>
          <a:stretch>
            <a:fillRect/>
          </a:stretch>
        </p:blipFill>
        <p:spPr bwMode="auto">
          <a:xfrm>
            <a:off x="3786182" y="5268923"/>
            <a:ext cx="1181100" cy="8286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16" descr="http://tbn3.google.com/images?q=tbn:6I7bxwqG27fjeM:http://www.burnsupport.org.nz/images/cartoons/chimneys.gif">
            <a:hlinkClick r:id="rId11"/>
          </p:cNvPr>
          <p:cNvPicPr>
            <a:picLocks noChangeAspect="1" noChangeArrowheads="1"/>
          </p:cNvPicPr>
          <p:nvPr/>
        </p:nvPicPr>
        <p:blipFill>
          <a:blip r:embed="rId12"/>
          <a:srcRect/>
          <a:stretch>
            <a:fillRect/>
          </a:stretch>
        </p:blipFill>
        <p:spPr bwMode="auto">
          <a:xfrm>
            <a:off x="500063" y="1984375"/>
            <a:ext cx="854075" cy="666750"/>
          </a:xfrm>
          <a:prstGeom prst="rect">
            <a:avLst/>
          </a:prstGeom>
          <a:ln>
            <a:noFill/>
          </a:ln>
          <a:effectLst>
            <a:outerShdw blurRad="292100" dist="139700" dir="2700000" algn="tl" rotWithShape="0">
              <a:srgbClr val="333333">
                <a:alpha val="65000"/>
              </a:srgbClr>
            </a:outerShdw>
          </a:effectLst>
        </p:spPr>
      </p:pic>
      <p:pic>
        <p:nvPicPr>
          <p:cNvPr id="11" name="Picture 16" descr="http://tbn3.google.com/images?q=tbn:6I7bxwqG27fjeM:http://www.burnsupport.org.nz/images/cartoons/chimneys.gif">
            <a:hlinkClick r:id="rId11"/>
          </p:cNvPr>
          <p:cNvPicPr>
            <a:picLocks noChangeAspect="1" noChangeArrowheads="1"/>
          </p:cNvPicPr>
          <p:nvPr/>
        </p:nvPicPr>
        <p:blipFill>
          <a:blip r:embed="rId12"/>
          <a:srcRect/>
          <a:stretch>
            <a:fillRect/>
          </a:stretch>
        </p:blipFill>
        <p:spPr bwMode="auto">
          <a:xfrm>
            <a:off x="3929063" y="1870075"/>
            <a:ext cx="571500" cy="446088"/>
          </a:xfrm>
          <a:prstGeom prst="rect">
            <a:avLst/>
          </a:prstGeom>
          <a:ln>
            <a:noFill/>
          </a:ln>
          <a:effectLst>
            <a:outerShdw blurRad="292100" dist="139700" dir="2700000" algn="tl" rotWithShape="0">
              <a:srgbClr val="333333">
                <a:alpha val="65000"/>
              </a:srgbClr>
            </a:outerShdw>
          </a:effectLst>
        </p:spPr>
      </p:pic>
      <p:pic>
        <p:nvPicPr>
          <p:cNvPr id="12" name="Picture 16" descr="http://tbn3.google.com/images?q=tbn:6I7bxwqG27fjeM:http://www.burnsupport.org.nz/images/cartoons/chimneys.gif">
            <a:hlinkClick r:id="rId11"/>
          </p:cNvPr>
          <p:cNvPicPr>
            <a:picLocks noChangeAspect="1" noChangeArrowheads="1"/>
          </p:cNvPicPr>
          <p:nvPr/>
        </p:nvPicPr>
        <p:blipFill>
          <a:blip r:embed="rId12"/>
          <a:srcRect/>
          <a:stretch>
            <a:fillRect/>
          </a:stretch>
        </p:blipFill>
        <p:spPr bwMode="auto">
          <a:xfrm>
            <a:off x="4714875" y="2055813"/>
            <a:ext cx="549275" cy="428625"/>
          </a:xfrm>
          <a:prstGeom prst="rect">
            <a:avLst/>
          </a:prstGeom>
          <a:ln>
            <a:noFill/>
          </a:ln>
          <a:effectLst>
            <a:outerShdw blurRad="292100" dist="139700" dir="2700000" algn="tl" rotWithShape="0">
              <a:srgbClr val="333333">
                <a:alpha val="65000"/>
              </a:srgbClr>
            </a:outerShdw>
          </a:effectLst>
        </p:spPr>
      </p:pic>
      <p:pic>
        <p:nvPicPr>
          <p:cNvPr id="13" name="Picture 17" descr="http://tbn3.google.com/images?q=tbn:6I7bxwqG27fjeM:http://www.burnsupport.org.nz/images/cartoons/chimneys.gif">
            <a:hlinkClick r:id="rId11"/>
          </p:cNvPr>
          <p:cNvPicPr>
            <a:picLocks noChangeAspect="1" noChangeArrowheads="1"/>
          </p:cNvPicPr>
          <p:nvPr/>
        </p:nvPicPr>
        <p:blipFill>
          <a:blip r:embed="rId12"/>
          <a:srcRect/>
          <a:stretch>
            <a:fillRect/>
          </a:stretch>
        </p:blipFill>
        <p:spPr bwMode="auto">
          <a:xfrm>
            <a:off x="4714875" y="2770188"/>
            <a:ext cx="627063" cy="490537"/>
          </a:xfrm>
          <a:prstGeom prst="rect">
            <a:avLst/>
          </a:prstGeom>
          <a:ln>
            <a:noFill/>
          </a:ln>
          <a:effectLst>
            <a:outerShdw blurRad="292100" dist="139700" dir="2700000" algn="tl" rotWithShape="0">
              <a:srgbClr val="333333">
                <a:alpha val="65000"/>
              </a:srgbClr>
            </a:outerShdw>
          </a:effectLst>
        </p:spPr>
      </p:pic>
      <p:pic>
        <p:nvPicPr>
          <p:cNvPr id="14" name="Picture 16" descr="http://tbn3.google.com/images?q=tbn:6I7bxwqG27fjeM:http://www.burnsupport.org.nz/images/cartoons/chimneys.gif">
            <a:hlinkClick r:id="rId11"/>
          </p:cNvPr>
          <p:cNvPicPr>
            <a:picLocks noChangeAspect="1" noChangeArrowheads="1"/>
          </p:cNvPicPr>
          <p:nvPr/>
        </p:nvPicPr>
        <p:blipFill>
          <a:blip r:embed="rId12"/>
          <a:srcRect/>
          <a:stretch>
            <a:fillRect/>
          </a:stretch>
        </p:blipFill>
        <p:spPr bwMode="auto">
          <a:xfrm>
            <a:off x="3357563" y="1903413"/>
            <a:ext cx="500062" cy="390525"/>
          </a:xfrm>
          <a:prstGeom prst="rect">
            <a:avLst/>
          </a:prstGeom>
          <a:ln>
            <a:noFill/>
          </a:ln>
          <a:effectLst>
            <a:outerShdw blurRad="292100" dist="139700" dir="2700000" algn="tl" rotWithShape="0">
              <a:srgbClr val="333333">
                <a:alpha val="65000"/>
              </a:srgbClr>
            </a:outerShdw>
          </a:effectLst>
        </p:spPr>
      </p:pic>
      <p:pic>
        <p:nvPicPr>
          <p:cNvPr id="15" name="Picture 18" descr="http://tbn0.google.com/images?q=tbn:QF68DXSlD5CGZM:http://4.bp.blogspot.com/_iRlXuzVuaSk/RpzIY1TC6KI/AAAAAAAAAcw/rt2snmMxeNU/s400/Phoenix%2BBuilding.JPG">
            <a:hlinkClick r:id="rId13"/>
          </p:cNvPr>
          <p:cNvPicPr>
            <a:picLocks noChangeAspect="1" noChangeArrowheads="1"/>
          </p:cNvPicPr>
          <p:nvPr/>
        </p:nvPicPr>
        <p:blipFill>
          <a:blip r:embed="rId14" cstate="print"/>
          <a:srcRect/>
          <a:stretch>
            <a:fillRect/>
          </a:stretch>
        </p:blipFill>
        <p:spPr bwMode="auto">
          <a:xfrm>
            <a:off x="500034" y="4768857"/>
            <a:ext cx="1085849" cy="81438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Picture 20" descr="http://tbn0.google.com/images?q=tbn:YnjAXM_x3Tix7M:http://farm1.static.flickr.com/65/164451891_8aa3d78f88.jpg">
            <a:hlinkClick r:id="rId15"/>
          </p:cNvPr>
          <p:cNvPicPr>
            <a:picLocks noChangeAspect="1" noChangeArrowheads="1"/>
          </p:cNvPicPr>
          <p:nvPr/>
        </p:nvPicPr>
        <p:blipFill>
          <a:blip r:embed="rId16" cstate="print"/>
          <a:srcRect/>
          <a:stretch>
            <a:fillRect/>
          </a:stretch>
        </p:blipFill>
        <p:spPr bwMode="auto">
          <a:xfrm>
            <a:off x="4786314" y="4768857"/>
            <a:ext cx="637441" cy="95249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Picture 18" descr="http://tbn0.google.com/images?q=tbn:QF68DXSlD5CGZM:http://4.bp.blogspot.com/_iRlXuzVuaSk/RpzIY1TC6KI/AAAAAAAAAcw/rt2snmMxeNU/s400/Phoenix%2BBuilding.JPG">
            <a:hlinkClick r:id="rId13"/>
          </p:cNvPr>
          <p:cNvPicPr>
            <a:picLocks noChangeAspect="1" noChangeArrowheads="1"/>
          </p:cNvPicPr>
          <p:nvPr/>
        </p:nvPicPr>
        <p:blipFill>
          <a:blip r:embed="rId14" cstate="print"/>
          <a:srcRect/>
          <a:stretch>
            <a:fillRect/>
          </a:stretch>
        </p:blipFill>
        <p:spPr bwMode="auto">
          <a:xfrm>
            <a:off x="3286116" y="5054609"/>
            <a:ext cx="714380" cy="5357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282" name="Rectangle 22"/>
          <p:cNvSpPr>
            <a:spLocks noChangeArrowheads="1"/>
          </p:cNvSpPr>
          <p:nvPr/>
        </p:nvSpPr>
        <p:spPr bwMode="auto">
          <a:xfrm>
            <a:off x="933450" y="6054725"/>
            <a:ext cx="99853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0" hangingPunct="0">
              <a:buClr>
                <a:srgbClr val="000000"/>
              </a:buClr>
              <a:buSzPct val="100000"/>
              <a:buFont typeface="Times New Roman" pitchFamily="18" charset="0"/>
              <a:buNone/>
            </a:pPr>
            <a:r>
              <a:rPr lang="en-US" altLang="ko-KR">
                <a:latin typeface="Arial Narrow" pitchFamily="34" charset="0"/>
                <a:ea typeface="仿宋_GB2312"/>
                <a:cs typeface="仿宋_GB2312"/>
              </a:rPr>
              <a:t>Corporate DC</a:t>
            </a:r>
            <a:endParaRPr lang="ko-KR" altLang="en-US">
              <a:latin typeface="Arial Narrow" pitchFamily="34" charset="0"/>
              <a:ea typeface="仿宋_GB2312"/>
              <a:cs typeface="仿宋_GB2312"/>
            </a:endParaRPr>
          </a:p>
        </p:txBody>
      </p:sp>
      <p:sp>
        <p:nvSpPr>
          <p:cNvPr id="11283" name="Rectangle 23"/>
          <p:cNvSpPr>
            <a:spLocks noChangeArrowheads="1"/>
          </p:cNvSpPr>
          <p:nvPr/>
        </p:nvSpPr>
        <p:spPr bwMode="auto">
          <a:xfrm>
            <a:off x="4129088" y="6126163"/>
            <a:ext cx="4000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0" hangingPunct="0">
              <a:buClr>
                <a:srgbClr val="000000"/>
              </a:buClr>
              <a:buSzPct val="100000"/>
              <a:buFont typeface="Times New Roman" pitchFamily="18" charset="0"/>
              <a:buNone/>
            </a:pPr>
            <a:r>
              <a:rPr lang="en-US" altLang="ko-KR">
                <a:latin typeface="Arial Narrow" pitchFamily="34" charset="0"/>
                <a:ea typeface="仿宋_GB2312"/>
                <a:cs typeface="仿宋_GB2312"/>
              </a:rPr>
              <a:t>IDC</a:t>
            </a:r>
            <a:endParaRPr lang="ko-KR" altLang="en-US">
              <a:latin typeface="Arial Narrow" pitchFamily="34" charset="0"/>
              <a:ea typeface="仿宋_GB2312"/>
              <a:cs typeface="仿宋_GB2312"/>
            </a:endParaRPr>
          </a:p>
        </p:txBody>
      </p:sp>
      <p:pic>
        <p:nvPicPr>
          <p:cNvPr id="11284" name="Picture 24" descr="http://axiscreativegrp.com/blog/wp-content/uploads/2008/08/cloud-computing.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83338" y="4738688"/>
            <a:ext cx="1828800" cy="135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6" descr="http://solar-photon.com/images/dark-korea.png"/>
          <p:cNvPicPr>
            <a:picLocks noChangeAspect="1" noChangeArrowheads="1"/>
          </p:cNvPicPr>
          <p:nvPr/>
        </p:nvPicPr>
        <p:blipFill>
          <a:blip r:embed="rId18" cstate="print"/>
          <a:srcRect/>
          <a:stretch>
            <a:fillRect/>
          </a:stretch>
        </p:blipFill>
        <p:spPr bwMode="auto">
          <a:xfrm>
            <a:off x="6357950" y="1938317"/>
            <a:ext cx="1473281" cy="16176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8" descr="http://helpdesk.ohiodominican.edu/IS/Help%20Docs/safe/Images/rj45jack.jpg"/>
          <p:cNvPicPr>
            <a:picLocks noChangeAspect="1" noChangeArrowheads="1"/>
          </p:cNvPicPr>
          <p:nvPr/>
        </p:nvPicPr>
        <p:blipFill>
          <a:blip r:embed="rId19" cstate="print"/>
          <a:srcRect l="6250" t="6000" r="12497" b="7858"/>
          <a:stretch>
            <a:fillRect/>
          </a:stretch>
        </p:blipFill>
        <p:spPr bwMode="auto">
          <a:xfrm>
            <a:off x="8286776" y="5505461"/>
            <a:ext cx="635422" cy="60323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287" name="Rectangle 28"/>
          <p:cNvSpPr>
            <a:spLocks noChangeArrowheads="1"/>
          </p:cNvSpPr>
          <p:nvPr/>
        </p:nvSpPr>
        <p:spPr bwMode="auto">
          <a:xfrm>
            <a:off x="2928938" y="3513138"/>
            <a:ext cx="292893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buClr>
                <a:srgbClr val="000000"/>
              </a:buClr>
              <a:buSzPct val="100000"/>
              <a:buFont typeface="Times New Roman" pitchFamily="18" charset="0"/>
              <a:buNone/>
            </a:pPr>
            <a:r>
              <a:rPr lang="en-US" altLang="ko-KR">
                <a:solidFill>
                  <a:srgbClr val="000000"/>
                </a:solidFill>
                <a:latin typeface="Arial Narrow" pitchFamily="34" charset="0"/>
                <a:ea typeface="仿宋_GB2312"/>
                <a:cs typeface="仿宋_GB2312"/>
              </a:rPr>
              <a:t>1882, Central power station</a:t>
            </a:r>
            <a:endParaRPr lang="ko-KR" altLang="en-US">
              <a:solidFill>
                <a:srgbClr val="000000"/>
              </a:solidFill>
              <a:latin typeface="Arial Narrow" pitchFamily="34" charset="0"/>
              <a:ea typeface="仿宋_GB2312"/>
              <a:cs typeface="仿宋_GB2312"/>
            </a:endParaRPr>
          </a:p>
        </p:txBody>
      </p:sp>
      <p:pic>
        <p:nvPicPr>
          <p:cNvPr id="11288" name="Picture 30" descr="단상2선식 계량기"/>
          <p:cNvPicPr>
            <a:picLocks noChangeAspect="1" noChangeArrowheads="1"/>
          </p:cNvPicPr>
          <p:nvPr/>
        </p:nvPicPr>
        <p:blipFill>
          <a:blip r:embed="rId20">
            <a:extLst>
              <a:ext uri="{28A0092B-C50C-407E-A947-70E740481C1C}">
                <a14:useLocalDpi xmlns:a14="http://schemas.microsoft.com/office/drawing/2010/main" val="0"/>
              </a:ext>
            </a:extLst>
          </a:blip>
          <a:srcRect l="23370" t="15962" r="21388" b="14319"/>
          <a:stretch>
            <a:fillRect/>
          </a:stretch>
        </p:blipFill>
        <p:spPr bwMode="auto">
          <a:xfrm>
            <a:off x="7858125" y="1931988"/>
            <a:ext cx="857250" cy="108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9" name="Picture 32" descr="http://www.idcc.net/aolimages/UsageMeter.jp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215313" y="4648200"/>
            <a:ext cx="806450"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Striped Right Arrow 32"/>
          <p:cNvSpPr/>
          <p:nvPr/>
        </p:nvSpPr>
        <p:spPr bwMode="auto">
          <a:xfrm>
            <a:off x="2428875" y="2555875"/>
            <a:ext cx="857250" cy="714375"/>
          </a:xfrm>
          <a:prstGeom prst="stripedRightArrow">
            <a:avLst/>
          </a:prstGeom>
          <a:solidFill>
            <a:srgbClr val="BFBFBF"/>
          </a:solidFill>
          <a:ln w="9525" cap="flat" cmpd="sng" algn="ctr">
            <a:noFill/>
            <a:prstDash val="solid"/>
            <a:round/>
            <a:headEnd type="none" w="med" len="med"/>
            <a:tailEnd type="none" w="med" len="med"/>
          </a:ln>
          <a:effectLst/>
        </p:spPr>
        <p:txBody>
          <a:bodyPr wrap="none" anchor="ctr"/>
          <a:lstStyle/>
          <a:p>
            <a:pPr algn="ctr" defTabSz="457200" eaLnBrk="0" hangingPunct="0">
              <a:buClr>
                <a:srgbClr val="000000"/>
              </a:buClr>
              <a:buSzPct val="100000"/>
              <a:buFont typeface="Times New Roman"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ko-KR" altLang="en-US" sz="1600">
              <a:solidFill>
                <a:srgbClr val="FFFFFF"/>
              </a:solidFill>
              <a:latin typeface="Arial" charset="0"/>
              <a:ea typeface="MS PGothic" pitchFamily="34" charset="-128"/>
            </a:endParaRPr>
          </a:p>
        </p:txBody>
      </p:sp>
      <p:sp>
        <p:nvSpPr>
          <p:cNvPr id="27" name="Striped Right Arrow 33"/>
          <p:cNvSpPr/>
          <p:nvPr/>
        </p:nvSpPr>
        <p:spPr bwMode="auto">
          <a:xfrm>
            <a:off x="5429250" y="2484438"/>
            <a:ext cx="857250" cy="714375"/>
          </a:xfrm>
          <a:prstGeom prst="stripedRightArrow">
            <a:avLst/>
          </a:prstGeom>
          <a:solidFill>
            <a:srgbClr val="BFBFBF"/>
          </a:solidFill>
          <a:ln w="9525" cap="flat" cmpd="sng" algn="ctr">
            <a:noFill/>
            <a:prstDash val="solid"/>
            <a:round/>
            <a:headEnd type="none" w="med" len="med"/>
            <a:tailEnd type="none" w="med" len="med"/>
          </a:ln>
          <a:effectLst/>
        </p:spPr>
        <p:txBody>
          <a:bodyPr wrap="none" anchor="ctr"/>
          <a:lstStyle/>
          <a:p>
            <a:pPr algn="ctr" defTabSz="457200" eaLnBrk="0" hangingPunct="0">
              <a:buClr>
                <a:srgbClr val="000000"/>
              </a:buClr>
              <a:buSzPct val="100000"/>
              <a:buFont typeface="Times New Roman"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ko-KR" altLang="en-US" sz="1600">
              <a:solidFill>
                <a:srgbClr val="FFFFFF"/>
              </a:solidFill>
              <a:latin typeface="Arial" charset="0"/>
              <a:ea typeface="MS PGothic" pitchFamily="34" charset="-128"/>
            </a:endParaRPr>
          </a:p>
        </p:txBody>
      </p:sp>
      <p:sp>
        <p:nvSpPr>
          <p:cNvPr id="28" name="Striped Right Arrow 34"/>
          <p:cNvSpPr/>
          <p:nvPr/>
        </p:nvSpPr>
        <p:spPr bwMode="auto">
          <a:xfrm>
            <a:off x="2357438" y="5126038"/>
            <a:ext cx="857250" cy="714375"/>
          </a:xfrm>
          <a:prstGeom prst="stripedRightArrow">
            <a:avLst/>
          </a:prstGeom>
          <a:solidFill>
            <a:srgbClr val="BFBFBF"/>
          </a:solidFill>
          <a:ln w="9525" cap="flat" cmpd="sng" algn="ctr">
            <a:noFill/>
            <a:prstDash val="solid"/>
            <a:round/>
            <a:headEnd type="none" w="med" len="med"/>
            <a:tailEnd type="none" w="med" len="med"/>
          </a:ln>
          <a:effectLst/>
        </p:spPr>
        <p:txBody>
          <a:bodyPr wrap="none" anchor="ctr"/>
          <a:lstStyle/>
          <a:p>
            <a:pPr algn="ctr" defTabSz="457200" eaLnBrk="0" hangingPunct="0">
              <a:buClr>
                <a:srgbClr val="000000"/>
              </a:buClr>
              <a:buSzPct val="100000"/>
              <a:buFont typeface="Times New Roman"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ko-KR" altLang="en-US" sz="1600">
              <a:solidFill>
                <a:srgbClr val="FFFFFF"/>
              </a:solidFill>
              <a:latin typeface="Arial" charset="0"/>
              <a:ea typeface="MS PGothic" pitchFamily="34" charset="-128"/>
            </a:endParaRPr>
          </a:p>
        </p:txBody>
      </p:sp>
      <p:sp>
        <p:nvSpPr>
          <p:cNvPr id="29" name="Striped Right Arrow 35"/>
          <p:cNvSpPr/>
          <p:nvPr/>
        </p:nvSpPr>
        <p:spPr bwMode="auto">
          <a:xfrm>
            <a:off x="5500688" y="5054600"/>
            <a:ext cx="857250" cy="714375"/>
          </a:xfrm>
          <a:prstGeom prst="stripedRightArrow">
            <a:avLst/>
          </a:prstGeom>
          <a:solidFill>
            <a:srgbClr val="BFBFBF"/>
          </a:solidFill>
          <a:ln w="9525" cap="flat" cmpd="sng" algn="ctr">
            <a:noFill/>
            <a:prstDash val="solid"/>
            <a:round/>
            <a:headEnd type="none" w="med" len="med"/>
            <a:tailEnd type="none" w="med" len="med"/>
          </a:ln>
          <a:effectLst/>
        </p:spPr>
        <p:txBody>
          <a:bodyPr wrap="none" anchor="ctr"/>
          <a:lstStyle/>
          <a:p>
            <a:pPr algn="ctr" defTabSz="457200" eaLnBrk="0" hangingPunct="0">
              <a:buClr>
                <a:srgbClr val="000000"/>
              </a:buClr>
              <a:buSzPct val="100000"/>
              <a:buFont typeface="Times New Roman"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ko-KR" altLang="en-US" sz="1600">
              <a:solidFill>
                <a:srgbClr val="FFFFFF"/>
              </a:solidFill>
              <a:latin typeface="Arial" charset="0"/>
              <a:ea typeface="MS PGothic" pitchFamily="34" charset="-128"/>
            </a:endParaRPr>
          </a:p>
        </p:txBody>
      </p:sp>
      <p:sp>
        <p:nvSpPr>
          <p:cNvPr id="30" name="Rectangle 3"/>
          <p:cNvSpPr txBox="1">
            <a:spLocks/>
          </p:cNvSpPr>
          <p:nvPr/>
        </p:nvSpPr>
        <p:spPr bwMode="auto">
          <a:xfrm>
            <a:off x="685800" y="3851275"/>
            <a:ext cx="7796213" cy="946150"/>
          </a:xfrm>
          <a:prstGeom prst="rect">
            <a:avLst/>
          </a:prstGeom>
          <a:noFill/>
          <a:ln w="9525">
            <a:noFill/>
            <a:miter lim="800000"/>
            <a:headEnd/>
            <a:tailEnd/>
          </a:ln>
        </p:spPr>
        <p:txBody>
          <a:bodyPr/>
          <a:lstStyle/>
          <a:p>
            <a:pPr algn="ctr">
              <a:lnSpc>
                <a:spcPct val="120000"/>
              </a:lnSpc>
              <a:spcBef>
                <a:spcPct val="20000"/>
              </a:spcBef>
              <a:buClr>
                <a:srgbClr val="FF0000"/>
              </a:buClr>
              <a:defRPr/>
            </a:pPr>
            <a:r>
              <a:rPr lang="zh-CN" altLang="en-US" sz="2400" kern="0" dirty="0">
                <a:solidFill>
                  <a:srgbClr val="FF0000"/>
                </a:solidFill>
                <a:latin typeface="Arial Narrow" pitchFamily="34" charset="0"/>
                <a:ea typeface="仿宋_GB2312" pitchFamily="49" charset="-122"/>
              </a:rPr>
              <a:t>云计算所倡导的是一种新的基于网络的</a:t>
            </a:r>
            <a:r>
              <a:rPr lang="en-US" altLang="zh-CN" sz="2400" kern="0" dirty="0">
                <a:solidFill>
                  <a:srgbClr val="FF0000"/>
                </a:solidFill>
                <a:latin typeface="Arial Narrow" pitchFamily="34" charset="0"/>
                <a:ea typeface="仿宋_GB2312" pitchFamily="49" charset="-122"/>
              </a:rPr>
              <a:t>IT</a:t>
            </a:r>
            <a:r>
              <a:rPr lang="zh-CN" altLang="en-US" sz="2400" kern="0" dirty="0">
                <a:solidFill>
                  <a:srgbClr val="FF0000"/>
                </a:solidFill>
                <a:latin typeface="Arial Narrow" pitchFamily="34" charset="0"/>
                <a:ea typeface="仿宋_GB2312" pitchFamily="49" charset="-122"/>
              </a:rPr>
              <a:t>服务的供给、消费、交付模式！</a:t>
            </a:r>
            <a:endParaRPr lang="en-US" altLang="ja-JP" sz="2400" kern="0" dirty="0">
              <a:solidFill>
                <a:srgbClr val="FF0000"/>
              </a:solidFill>
              <a:latin typeface="Arial Narrow" pitchFamily="34" charset="0"/>
              <a:ea typeface="仿宋_GB2312" pitchFamily="49" charset="-122"/>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custDataLst>
              <p:tags r:id="rId2"/>
            </p:custDataLst>
          </p:nvPr>
        </p:nvSpPr>
        <p:spPr>
          <a:xfrm>
            <a:off x="0" y="15875"/>
            <a:ext cx="8201025" cy="460375"/>
          </a:xfrm>
        </p:spPr>
        <p:txBody>
          <a:bodyPr/>
          <a:lstStyle/>
          <a:p>
            <a:r>
              <a:rPr lang="zh-CN" altLang="en-US" smtClean="0"/>
              <a:t>国际运营商</a:t>
            </a:r>
          </a:p>
        </p:txBody>
      </p:sp>
      <p:sp>
        <p:nvSpPr>
          <p:cNvPr id="38915" name="Rectangle 3"/>
          <p:cNvSpPr>
            <a:spLocks noGrp="1" noChangeArrowheads="1"/>
          </p:cNvSpPr>
          <p:nvPr>
            <p:ph type="body" idx="1"/>
            <p:custDataLst>
              <p:tags r:id="rId3"/>
            </p:custDataLst>
          </p:nvPr>
        </p:nvSpPr>
        <p:spPr>
          <a:xfrm>
            <a:off x="250825" y="933450"/>
            <a:ext cx="8435975" cy="407988"/>
          </a:xfrm>
        </p:spPr>
        <p:txBody>
          <a:bodyPr/>
          <a:lstStyle/>
          <a:p>
            <a:pPr>
              <a:lnSpc>
                <a:spcPct val="100000"/>
              </a:lnSpc>
            </a:pPr>
            <a:r>
              <a:rPr lang="en-US" altLang="zh-CN" sz="1800" smtClean="0">
                <a:latin typeface="微软雅黑" pitchFamily="34" charset="-122"/>
              </a:rPr>
              <a:t>AT&amp;T</a:t>
            </a:r>
            <a:r>
              <a:rPr lang="zh-CN" altLang="en-US" sz="1800" smtClean="0">
                <a:latin typeface="微软雅黑" pitchFamily="34" charset="-122"/>
              </a:rPr>
              <a:t>、</a:t>
            </a:r>
            <a:r>
              <a:rPr lang="en-US" altLang="zh-CN" sz="1800" smtClean="0">
                <a:latin typeface="微软雅黑" pitchFamily="34" charset="-122"/>
              </a:rPr>
              <a:t>NTT</a:t>
            </a:r>
            <a:r>
              <a:rPr lang="zh-CN" altLang="en-US" sz="1800" smtClean="0">
                <a:latin typeface="微软雅黑" pitchFamily="34" charset="-122"/>
              </a:rPr>
              <a:t>和</a:t>
            </a:r>
            <a:r>
              <a:rPr lang="en-US" altLang="zh-CN" sz="1800" smtClean="0">
                <a:latin typeface="微软雅黑" pitchFamily="34" charset="-122"/>
              </a:rPr>
              <a:t>Verizon</a:t>
            </a:r>
            <a:r>
              <a:rPr lang="zh-CN" altLang="en-US" sz="1800" smtClean="0">
                <a:latin typeface="微软雅黑" pitchFamily="34" charset="-122"/>
              </a:rPr>
              <a:t>都推出了云服务，他们将云计算做为其传统</a:t>
            </a:r>
            <a:r>
              <a:rPr lang="en-US" altLang="zh-CN" sz="1800" smtClean="0">
                <a:latin typeface="微软雅黑" pitchFamily="34" charset="-122"/>
              </a:rPr>
              <a:t>IDC</a:t>
            </a:r>
            <a:r>
              <a:rPr lang="zh-CN" altLang="en-US" sz="1800" smtClean="0">
                <a:latin typeface="微软雅黑" pitchFamily="34" charset="-122"/>
              </a:rPr>
              <a:t>服务的延伸，主要服务于运营商现有企业客户，提供弹性计算和弹性存储服务，并尝试为大型企业构建私有云。</a:t>
            </a:r>
            <a:endParaRPr lang="en-US" altLang="zh-CN" sz="1800" smtClean="0">
              <a:latin typeface="微软雅黑" pitchFamily="34" charset="-122"/>
            </a:endParaRPr>
          </a:p>
        </p:txBody>
      </p:sp>
      <p:pic>
        <p:nvPicPr>
          <p:cNvPr id="38916" name="Picture 45" descr="logo.gif"/>
          <p:cNvPicPr>
            <a:picLocks noChangeAspect="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358775" y="2278063"/>
            <a:ext cx="1008063"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2933" name="Rectangle 5"/>
          <p:cNvSpPr>
            <a:spLocks noChangeArrowheads="1"/>
          </p:cNvSpPr>
          <p:nvPr/>
        </p:nvSpPr>
        <p:spPr bwMode="auto">
          <a:xfrm>
            <a:off x="1619250" y="1917700"/>
            <a:ext cx="7200900" cy="1366838"/>
          </a:xfrm>
          <a:prstGeom prst="rect">
            <a:avLst/>
          </a:prstGeom>
          <a:solidFill>
            <a:schemeClr val="accent1"/>
          </a:solidFill>
          <a:ln w="9525" algn="ctr">
            <a:noFill/>
            <a:miter lim="800000"/>
            <a:headEnd/>
            <a:tailEnd/>
          </a:ln>
          <a:effectLst>
            <a:prstShdw prst="shdw17" dist="17961" dir="2700000">
              <a:schemeClr val="accent1">
                <a:gamma/>
                <a:shade val="60000"/>
                <a:invGamma/>
                <a:alpha val="50000"/>
              </a:schemeClr>
            </a:prstShdw>
          </a:effectLst>
        </p:spPr>
        <p:txBody>
          <a:bodyPr anchor="ctr"/>
          <a:lstStyle/>
          <a:p>
            <a:pPr marL="120650" indent="-120650">
              <a:lnSpc>
                <a:spcPct val="120000"/>
              </a:lnSpc>
              <a:spcBef>
                <a:spcPct val="20000"/>
              </a:spcBef>
              <a:buFontTx/>
              <a:buChar char="•"/>
              <a:defRPr/>
            </a:pPr>
            <a:r>
              <a:rPr kumimoji="1" lang="en-US" altLang="zh-CN" sz="1600" b="0">
                <a:cs typeface="Tahoma" pitchFamily="34" charset="0"/>
              </a:rPr>
              <a:t>2006</a:t>
            </a:r>
            <a:r>
              <a:rPr kumimoji="1" lang="zh-CN" altLang="en-US" sz="1600" b="0">
                <a:cs typeface="Tahoma" pitchFamily="34" charset="0"/>
              </a:rPr>
              <a:t>年起，</a:t>
            </a:r>
            <a:r>
              <a:rPr kumimoji="1" lang="en-US" altLang="zh-CN" sz="1600" b="0">
                <a:cs typeface="Tahoma" pitchFamily="34" charset="0"/>
              </a:rPr>
              <a:t>AT&amp;T</a:t>
            </a:r>
            <a:r>
              <a:rPr kumimoji="1" lang="zh-CN" altLang="en-US" sz="1600" b="0">
                <a:cs typeface="Tahoma" pitchFamily="34" charset="0"/>
              </a:rPr>
              <a:t>整合其数据中心资源，</a:t>
            </a:r>
            <a:r>
              <a:rPr kumimoji="1" lang="zh-CN" altLang="en-US" sz="1600">
                <a:cs typeface="Tahoma" pitchFamily="34" charset="0"/>
              </a:rPr>
              <a:t>选择基于基础设施的虚拟化</a:t>
            </a:r>
            <a:r>
              <a:rPr kumimoji="1" lang="en-US" altLang="zh-CN" sz="1600">
                <a:cs typeface="Tahoma" pitchFamily="34" charset="0"/>
              </a:rPr>
              <a:t>(IaaS)</a:t>
            </a:r>
            <a:r>
              <a:rPr kumimoji="1" lang="zh-CN" altLang="en-US" sz="1600">
                <a:cs typeface="Tahoma" pitchFamily="34" charset="0"/>
              </a:rPr>
              <a:t>做为切入点，提供以</a:t>
            </a:r>
            <a:r>
              <a:rPr kumimoji="1" lang="en-US" altLang="zh-CN" sz="1600">
                <a:cs typeface="Tahoma" pitchFamily="34" charset="0"/>
              </a:rPr>
              <a:t>IaaS</a:t>
            </a:r>
            <a:r>
              <a:rPr kumimoji="1" lang="zh-CN" altLang="en-US" sz="1600">
                <a:cs typeface="Tahoma" pitchFamily="34" charset="0"/>
              </a:rPr>
              <a:t>为主的云服务，主要客户为其传统</a:t>
            </a:r>
            <a:r>
              <a:rPr kumimoji="1" lang="en-US" altLang="zh-CN" sz="1600">
                <a:cs typeface="Tahoma" pitchFamily="34" charset="0"/>
              </a:rPr>
              <a:t>IDC</a:t>
            </a:r>
            <a:r>
              <a:rPr kumimoji="1" lang="zh-CN" altLang="en-US" sz="1600">
                <a:cs typeface="Tahoma" pitchFamily="34" charset="0"/>
              </a:rPr>
              <a:t>客户</a:t>
            </a:r>
            <a:r>
              <a:rPr kumimoji="1" lang="zh-CN" altLang="en-US" sz="1600" b="0">
                <a:cs typeface="Tahoma" pitchFamily="34" charset="0"/>
              </a:rPr>
              <a:t>。并与</a:t>
            </a:r>
            <a:r>
              <a:rPr kumimoji="1" lang="en-US" altLang="zh-CN" sz="1600" b="0">
                <a:cs typeface="Tahoma" pitchFamily="34" charset="0"/>
              </a:rPr>
              <a:t>SAP</a:t>
            </a:r>
            <a:r>
              <a:rPr kumimoji="1" lang="zh-CN" altLang="en-US" sz="1600" b="0">
                <a:cs typeface="Tahoma" pitchFamily="34" charset="0"/>
              </a:rPr>
              <a:t>、</a:t>
            </a:r>
            <a:r>
              <a:rPr kumimoji="1" lang="en-US" altLang="zh-CN" sz="1600" b="0">
                <a:cs typeface="Tahoma" pitchFamily="34" charset="0"/>
              </a:rPr>
              <a:t>Oracle等</a:t>
            </a:r>
            <a:r>
              <a:rPr kumimoji="1" lang="zh-CN" altLang="en-US" sz="1600" b="0">
                <a:cs typeface="Tahoma" pitchFamily="34" charset="0"/>
              </a:rPr>
              <a:t>公司合作，向企业客户提供</a:t>
            </a:r>
            <a:r>
              <a:rPr kumimoji="1" lang="en-US" altLang="zh-CN" sz="1600" b="0">
                <a:cs typeface="Tahoma" pitchFamily="34" charset="0"/>
              </a:rPr>
              <a:t>SaaS层面的服务</a:t>
            </a:r>
            <a:r>
              <a:rPr kumimoji="1" lang="zh-CN" altLang="en-US" sz="1600" b="0">
                <a:cs typeface="Tahoma" pitchFamily="34" charset="0"/>
              </a:rPr>
              <a:t>。</a:t>
            </a:r>
          </a:p>
          <a:p>
            <a:pPr marL="120650" indent="-120650">
              <a:lnSpc>
                <a:spcPct val="120000"/>
              </a:lnSpc>
              <a:spcBef>
                <a:spcPct val="20000"/>
              </a:spcBef>
              <a:buFontTx/>
              <a:buChar char="•"/>
              <a:defRPr/>
            </a:pPr>
            <a:r>
              <a:rPr kumimoji="1" lang="zh-CN" altLang="en-US" sz="1600" b="0">
                <a:cs typeface="Tahoma" pitchFamily="34" charset="0"/>
              </a:rPr>
              <a:t>云计算收入约为</a:t>
            </a:r>
            <a:r>
              <a:rPr kumimoji="1" lang="en-US" altLang="zh-CN" sz="1600" b="0">
                <a:cs typeface="Tahoma" pitchFamily="34" charset="0"/>
              </a:rPr>
              <a:t>1-2</a:t>
            </a:r>
            <a:r>
              <a:rPr kumimoji="1" lang="zh-CN" altLang="en-US" sz="1600" b="0">
                <a:cs typeface="Tahoma" pitchFamily="34" charset="0"/>
              </a:rPr>
              <a:t>亿美元</a:t>
            </a:r>
          </a:p>
        </p:txBody>
      </p:sp>
      <p:graphicFrame>
        <p:nvGraphicFramePr>
          <p:cNvPr id="38918" name="Rectangle 6" hidden="1"/>
          <p:cNvGraphicFramePr>
            <a:graphicFrameLocks/>
          </p:cNvGraphicFramePr>
          <p:nvPr>
            <p:custDataLst>
              <p:tags r:id="rId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923" r:id="rId10" imgW="0" imgH="0" progId="">
                  <p:embed/>
                </p:oleObj>
              </mc:Choice>
              <mc:Fallback>
                <p:oleObj r:id="rId10" imgW="0" imgH="0" progId="">
                  <p:embed/>
                  <p:pic>
                    <p:nvPicPr>
                      <p:cNvPr id="0"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92935" name="Rectangle 7"/>
          <p:cNvSpPr>
            <a:spLocks noChangeArrowheads="1"/>
          </p:cNvSpPr>
          <p:nvPr/>
        </p:nvSpPr>
        <p:spPr bwMode="auto">
          <a:xfrm>
            <a:off x="1619250" y="3392488"/>
            <a:ext cx="7200900" cy="1439862"/>
          </a:xfrm>
          <a:prstGeom prst="rect">
            <a:avLst/>
          </a:prstGeom>
          <a:solidFill>
            <a:schemeClr val="accent1"/>
          </a:solidFill>
          <a:ln w="9525" algn="ctr">
            <a:noFill/>
            <a:miter lim="800000"/>
            <a:headEnd/>
            <a:tailEnd/>
          </a:ln>
          <a:effectLst>
            <a:prstShdw prst="shdw17" dist="17961" dir="2700000">
              <a:schemeClr val="accent1">
                <a:gamma/>
                <a:shade val="60000"/>
                <a:invGamma/>
                <a:alpha val="50000"/>
              </a:schemeClr>
            </a:prstShdw>
          </a:effectLst>
        </p:spPr>
        <p:txBody>
          <a:bodyPr anchor="ctr"/>
          <a:lstStyle/>
          <a:p>
            <a:pPr marL="120650" indent="-120650">
              <a:lnSpc>
                <a:spcPct val="120000"/>
              </a:lnSpc>
              <a:spcBef>
                <a:spcPct val="20000"/>
              </a:spcBef>
              <a:buFontTx/>
              <a:buChar char="•"/>
              <a:defRPr/>
            </a:pPr>
            <a:r>
              <a:rPr kumimoji="1" lang="en-US" altLang="zh-CN" sz="1600" b="0">
                <a:cs typeface="Tahoma" pitchFamily="34" charset="0"/>
              </a:rPr>
              <a:t>2007</a:t>
            </a:r>
            <a:r>
              <a:rPr kumimoji="1" lang="zh-CN" altLang="en-US" sz="1600" b="0">
                <a:cs typeface="Tahoma" pitchFamily="34" charset="0"/>
              </a:rPr>
              <a:t>年，</a:t>
            </a:r>
            <a:r>
              <a:rPr kumimoji="1" lang="en-US" altLang="zh-CN" sz="1600" b="0">
                <a:cs typeface="Tahoma" pitchFamily="34" charset="0"/>
              </a:rPr>
              <a:t>NTT</a:t>
            </a:r>
            <a:r>
              <a:rPr kumimoji="1" lang="en-US" altLang="en-US" sz="1600" b="0">
                <a:cs typeface="Tahoma" pitchFamily="34" charset="0"/>
              </a:rPr>
              <a:t>通信公司</a:t>
            </a:r>
            <a:r>
              <a:rPr kumimoji="1" lang="zh-CN" altLang="en-US" sz="1600" b="0">
                <a:cs typeface="Tahoma" pitchFamily="34" charset="0"/>
              </a:rPr>
              <a:t>推出</a:t>
            </a:r>
            <a:r>
              <a:rPr kumimoji="1" lang="en-US" altLang="en-US" sz="1600" b="0">
                <a:cs typeface="Tahoma" pitchFamily="34" charset="0"/>
              </a:rPr>
              <a:t> </a:t>
            </a:r>
            <a:r>
              <a:rPr kumimoji="1" lang="en-US" altLang="zh-CN" sz="1600" b="0">
                <a:cs typeface="Tahoma" pitchFamily="34" charset="0"/>
              </a:rPr>
              <a:t>IaaS</a:t>
            </a:r>
            <a:r>
              <a:rPr kumimoji="1" lang="en-US" altLang="en-US" sz="1600" b="0">
                <a:cs typeface="Tahoma" pitchFamily="34" charset="0"/>
              </a:rPr>
              <a:t> 私有云</a:t>
            </a:r>
            <a:r>
              <a:rPr kumimoji="1" lang="en-US" altLang="zh-CN" sz="1600" b="0">
                <a:cs typeface="Tahoma" pitchFamily="34" charset="0"/>
              </a:rPr>
              <a:t>及</a:t>
            </a:r>
            <a:r>
              <a:rPr kumimoji="1" lang="en-US" altLang="en-US" sz="1600" b="0">
                <a:cs typeface="Tahoma" pitchFamily="34" charset="0"/>
              </a:rPr>
              <a:t>IaaS</a:t>
            </a:r>
            <a:r>
              <a:rPr kumimoji="1" lang="en-US" altLang="zh-CN" sz="1600" b="0">
                <a:cs typeface="Tahoma" pitchFamily="34" charset="0"/>
              </a:rPr>
              <a:t>公</a:t>
            </a:r>
            <a:r>
              <a:rPr kumimoji="1" lang="zh-CN" altLang="en-US" sz="1600" b="0">
                <a:cs typeface="Tahoma" pitchFamily="34" charset="0"/>
              </a:rPr>
              <a:t>有云（通过与</a:t>
            </a:r>
            <a:r>
              <a:rPr kumimoji="1" lang="en-US" altLang="en-US" sz="1600" b="0">
                <a:cs typeface="Tahoma" pitchFamily="34" charset="0"/>
              </a:rPr>
              <a:t>合作伙伴</a:t>
            </a:r>
            <a:r>
              <a:rPr kumimoji="1" lang="zh-CN" altLang="en-US" sz="1600" b="0">
                <a:cs typeface="Tahoma" pitchFamily="34" charset="0"/>
              </a:rPr>
              <a:t>合作）服务</a:t>
            </a:r>
            <a:r>
              <a:rPr kumimoji="1" lang="en-US" altLang="zh-CN" sz="1600" b="0">
                <a:cs typeface="Tahoma" pitchFamily="34" charset="0"/>
              </a:rPr>
              <a:t>。 </a:t>
            </a:r>
            <a:r>
              <a:rPr kumimoji="1" lang="en-US" altLang="zh-CN" sz="1600">
                <a:cs typeface="Tahoma" pitchFamily="34" charset="0"/>
              </a:rPr>
              <a:t>NTT</a:t>
            </a:r>
            <a:r>
              <a:rPr kumimoji="1" lang="zh-CN" altLang="en-US" sz="1600">
                <a:cs typeface="Tahoma" pitchFamily="34" charset="0"/>
              </a:rPr>
              <a:t>云计算以私有云服务为主，基于</a:t>
            </a:r>
            <a:r>
              <a:rPr kumimoji="1" lang="en-US" altLang="zh-CN" sz="1600">
                <a:cs typeface="Tahoma" pitchFamily="34" charset="0"/>
              </a:rPr>
              <a:t>VPN</a:t>
            </a:r>
            <a:r>
              <a:rPr kumimoji="1" lang="zh-CN" altLang="en-US" sz="1600">
                <a:cs typeface="Tahoma" pitchFamily="34" charset="0"/>
              </a:rPr>
              <a:t>为企业用户提供虚拟私有云计算服务</a:t>
            </a:r>
            <a:r>
              <a:rPr kumimoji="1" lang="zh-CN" altLang="en-US" sz="1600" b="0">
                <a:cs typeface="Tahoma" pitchFamily="34" charset="0"/>
              </a:rPr>
              <a:t>。</a:t>
            </a:r>
          </a:p>
          <a:p>
            <a:pPr marL="120650" indent="-120650">
              <a:lnSpc>
                <a:spcPct val="120000"/>
              </a:lnSpc>
              <a:spcBef>
                <a:spcPct val="20000"/>
              </a:spcBef>
              <a:buFontTx/>
              <a:buChar char="•"/>
              <a:defRPr/>
            </a:pPr>
            <a:r>
              <a:rPr kumimoji="1" lang="en-US" altLang="zh-CN" sz="1600" b="0">
                <a:cs typeface="Tahoma" pitchFamily="34" charset="0"/>
              </a:rPr>
              <a:t>NTT</a:t>
            </a:r>
            <a:r>
              <a:rPr kumimoji="1" lang="zh-CN" altLang="en-US" sz="1600" b="0">
                <a:cs typeface="Tahoma" pitchFamily="34" charset="0"/>
              </a:rPr>
              <a:t>聚焦大型、复杂和个性化的高度定制业务，其目标客户主要是跨国公司</a:t>
            </a:r>
          </a:p>
        </p:txBody>
      </p:sp>
      <p:sp>
        <p:nvSpPr>
          <p:cNvPr id="892936" name="Rectangle 8"/>
          <p:cNvSpPr>
            <a:spLocks noChangeArrowheads="1"/>
          </p:cNvSpPr>
          <p:nvPr>
            <p:custDataLst>
              <p:tags r:id="rId6"/>
            </p:custDataLst>
          </p:nvPr>
        </p:nvSpPr>
        <p:spPr bwMode="auto">
          <a:xfrm>
            <a:off x="1619250" y="4941888"/>
            <a:ext cx="7200900" cy="1582737"/>
          </a:xfrm>
          <a:prstGeom prst="rect">
            <a:avLst/>
          </a:prstGeom>
          <a:solidFill>
            <a:schemeClr val="accent1"/>
          </a:solidFill>
          <a:ln w="9525" algn="ctr">
            <a:noFill/>
            <a:miter lim="800000"/>
            <a:headEnd/>
            <a:tailEnd/>
          </a:ln>
          <a:effectLst>
            <a:prstShdw prst="shdw17" dist="17961" dir="2700000">
              <a:schemeClr val="accent1">
                <a:gamma/>
                <a:shade val="60000"/>
                <a:invGamma/>
                <a:alpha val="50000"/>
              </a:schemeClr>
            </a:prstShdw>
          </a:effectLst>
        </p:spPr>
        <p:txBody>
          <a:bodyPr anchor="ctr"/>
          <a:lstStyle/>
          <a:p>
            <a:pPr marL="120650" indent="-120650">
              <a:lnSpc>
                <a:spcPct val="120000"/>
              </a:lnSpc>
              <a:spcBef>
                <a:spcPct val="20000"/>
              </a:spcBef>
              <a:buFontTx/>
              <a:buChar char="•"/>
              <a:defRPr/>
            </a:pPr>
            <a:r>
              <a:rPr kumimoji="1" lang="en-US" altLang="zh-CN" sz="1600" b="0">
                <a:cs typeface="Tahoma" pitchFamily="34" charset="0"/>
              </a:rPr>
              <a:t>2009</a:t>
            </a:r>
            <a:r>
              <a:rPr kumimoji="1" lang="zh-CN" altLang="en-US" sz="1600" b="0">
                <a:cs typeface="Tahoma" pitchFamily="34" charset="0"/>
              </a:rPr>
              <a:t>年</a:t>
            </a:r>
            <a:r>
              <a:rPr kumimoji="1" lang="en-US" altLang="zh-CN" sz="1600" b="0">
                <a:cs typeface="Tahoma" pitchFamily="34" charset="0"/>
              </a:rPr>
              <a:t>Verizon</a:t>
            </a:r>
            <a:r>
              <a:rPr kumimoji="1" lang="zh-CN" altLang="en-US" sz="1600" b="0">
                <a:cs typeface="Tahoma" pitchFamily="34" charset="0"/>
              </a:rPr>
              <a:t>推出云服务</a:t>
            </a:r>
            <a:r>
              <a:rPr kumimoji="1" lang="zh-CN" altLang="en-US" sz="1600">
                <a:cs typeface="Tahoma" pitchFamily="34" charset="0"/>
              </a:rPr>
              <a:t>，前期主要客户为大型企业，</a:t>
            </a:r>
            <a:r>
              <a:rPr kumimoji="1" lang="en-US" altLang="zh-CN" sz="1600">
                <a:cs typeface="Tahoma" pitchFamily="34" charset="0"/>
              </a:rPr>
              <a:t>2010</a:t>
            </a:r>
            <a:r>
              <a:rPr kumimoji="1" lang="zh-CN" altLang="en-US" sz="1600">
                <a:cs typeface="Tahoma" pitchFamily="34" charset="0"/>
              </a:rPr>
              <a:t>年开始提供中小企业服务。</a:t>
            </a:r>
            <a:r>
              <a:rPr kumimoji="1" lang="en-US" altLang="zh-CN" sz="1600">
                <a:cs typeface="Tahoma" pitchFamily="34" charset="0"/>
              </a:rPr>
              <a:t>企业只需进行简单的网上登记，再有一张信用卡作担保，就可以使用这项服务。</a:t>
            </a:r>
          </a:p>
          <a:p>
            <a:pPr marL="120650" indent="-120650">
              <a:lnSpc>
                <a:spcPct val="120000"/>
              </a:lnSpc>
              <a:spcBef>
                <a:spcPct val="20000"/>
              </a:spcBef>
              <a:buFontTx/>
              <a:buChar char="•"/>
              <a:defRPr/>
            </a:pPr>
            <a:r>
              <a:rPr kumimoji="1" lang="en-US" altLang="zh-CN" sz="1600" b="0">
                <a:cs typeface="Tahoma" pitchFamily="34" charset="0"/>
              </a:rPr>
              <a:t>Verizon</a:t>
            </a:r>
            <a:r>
              <a:rPr kumimoji="1" lang="zh-CN" altLang="en-US" sz="1600" b="0">
                <a:cs typeface="Tahoma" pitchFamily="34" charset="0"/>
              </a:rPr>
              <a:t>提供多种级别的</a:t>
            </a:r>
            <a:r>
              <a:rPr kumimoji="1" lang="en-US" altLang="zh-CN" sz="1600" b="0">
                <a:cs typeface="Tahoma" pitchFamily="34" charset="0"/>
              </a:rPr>
              <a:t>SLA</a:t>
            </a:r>
            <a:r>
              <a:rPr kumimoji="1" lang="zh-CN" altLang="en-US" sz="1600" b="0">
                <a:cs typeface="Tahoma" pitchFamily="34" charset="0"/>
              </a:rPr>
              <a:t>服务等级协议，可以满足客户不同成本效益下的应用需求。 </a:t>
            </a:r>
          </a:p>
        </p:txBody>
      </p:sp>
      <p:pic>
        <p:nvPicPr>
          <p:cNvPr id="38921" name="Picture 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95288" y="3717925"/>
            <a:ext cx="935037"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pic>
        <p:nvPicPr>
          <p:cNvPr id="38922" name="Picture 1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98463" y="5418138"/>
            <a:ext cx="931862" cy="60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custDataLst>
              <p:tags r:id="rId2"/>
            </p:custDataLst>
          </p:nvPr>
        </p:nvSpPr>
        <p:spPr>
          <a:xfrm>
            <a:off x="0" y="15875"/>
            <a:ext cx="8201025" cy="460375"/>
          </a:xfrm>
        </p:spPr>
        <p:txBody>
          <a:bodyPr/>
          <a:lstStyle/>
          <a:p>
            <a:r>
              <a:rPr lang="zh-CN" altLang="en-US" smtClean="0"/>
              <a:t>国内运营商</a:t>
            </a:r>
          </a:p>
        </p:txBody>
      </p:sp>
      <p:sp>
        <p:nvSpPr>
          <p:cNvPr id="892933" name="Rectangle 5"/>
          <p:cNvSpPr>
            <a:spLocks noChangeArrowheads="1"/>
          </p:cNvSpPr>
          <p:nvPr/>
        </p:nvSpPr>
        <p:spPr bwMode="auto">
          <a:xfrm>
            <a:off x="1619250" y="1341438"/>
            <a:ext cx="7200900" cy="1366837"/>
          </a:xfrm>
          <a:prstGeom prst="rect">
            <a:avLst/>
          </a:prstGeom>
          <a:solidFill>
            <a:srgbClr val="FFC000"/>
          </a:solidFill>
          <a:ln w="9525" algn="ctr">
            <a:noFill/>
            <a:miter lim="800000"/>
            <a:headEnd/>
            <a:tailEnd/>
          </a:ln>
          <a:effectLst>
            <a:prstShdw prst="shdw17" dist="17961" dir="2700000">
              <a:schemeClr val="accent1">
                <a:gamma/>
                <a:shade val="60000"/>
                <a:invGamma/>
                <a:alpha val="50000"/>
              </a:schemeClr>
            </a:prstShdw>
          </a:effectLst>
        </p:spPr>
        <p:txBody>
          <a:bodyPr anchor="ctr"/>
          <a:lstStyle/>
          <a:p>
            <a:pPr marL="120650" indent="-120650">
              <a:lnSpc>
                <a:spcPct val="120000"/>
              </a:lnSpc>
              <a:spcBef>
                <a:spcPct val="20000"/>
              </a:spcBef>
              <a:buFontTx/>
              <a:buChar char="•"/>
              <a:defRPr/>
            </a:pPr>
            <a:r>
              <a:rPr kumimoji="1" lang="zh-CN" altLang="en-US" sz="1600" b="0" dirty="0">
                <a:cs typeface="Tahoma" pitchFamily="34" charset="0"/>
              </a:rPr>
              <a:t>中国联通正在实施“沃</a:t>
            </a:r>
            <a:r>
              <a:rPr kumimoji="1" lang="en-US" altLang="zh-CN" sz="1600" b="0" dirty="0">
                <a:cs typeface="Tahoma" pitchFamily="34" charset="0"/>
              </a:rPr>
              <a:t>•</a:t>
            </a:r>
            <a:r>
              <a:rPr kumimoji="1" lang="zh-CN" altLang="en-US" sz="1600" b="0" dirty="0">
                <a:cs typeface="Tahoma" pitchFamily="34" charset="0"/>
              </a:rPr>
              <a:t>云”计划，探索运营商全业务领域的资源整合，并启动信息化系统的云计算改造，优化业务支撑系统架构</a:t>
            </a:r>
          </a:p>
        </p:txBody>
      </p:sp>
      <p:graphicFrame>
        <p:nvGraphicFramePr>
          <p:cNvPr id="39940" name="Rectangle 6"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46" r:id="rId7" imgW="0" imgH="0" progId="">
                  <p:embed/>
                </p:oleObj>
              </mc:Choice>
              <mc:Fallback>
                <p:oleObj r:id="rId7" imgW="0" imgH="0" progId="">
                  <p:embed/>
                  <p:pic>
                    <p:nvPicPr>
                      <p:cNvPr id="0" name="Rectangle 6"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92935" name="Rectangle 7"/>
          <p:cNvSpPr>
            <a:spLocks noChangeArrowheads="1"/>
          </p:cNvSpPr>
          <p:nvPr/>
        </p:nvSpPr>
        <p:spPr bwMode="auto">
          <a:xfrm>
            <a:off x="1619250" y="2816225"/>
            <a:ext cx="7200900" cy="1439863"/>
          </a:xfrm>
          <a:prstGeom prst="rect">
            <a:avLst/>
          </a:prstGeom>
          <a:solidFill>
            <a:srgbClr val="FFC000"/>
          </a:solidFill>
          <a:ln w="9525" algn="ctr">
            <a:noFill/>
            <a:miter lim="800000"/>
            <a:headEnd/>
            <a:tailEnd/>
          </a:ln>
          <a:effectLst>
            <a:prstShdw prst="shdw17" dist="17961" dir="2700000">
              <a:schemeClr val="accent1">
                <a:gamma/>
                <a:shade val="60000"/>
                <a:invGamma/>
                <a:alpha val="50000"/>
              </a:schemeClr>
            </a:prstShdw>
          </a:effectLst>
        </p:spPr>
        <p:txBody>
          <a:bodyPr anchor="ctr"/>
          <a:lstStyle/>
          <a:p>
            <a:pPr marL="120650" indent="-120650">
              <a:lnSpc>
                <a:spcPct val="120000"/>
              </a:lnSpc>
              <a:spcBef>
                <a:spcPct val="20000"/>
              </a:spcBef>
              <a:buFontTx/>
              <a:buChar char="•"/>
              <a:defRPr/>
            </a:pPr>
            <a:r>
              <a:rPr kumimoji="1" lang="zh-CN" altLang="en-US" sz="1600" b="0" dirty="0">
                <a:cs typeface="Tahoma" pitchFamily="34" charset="0"/>
              </a:rPr>
              <a:t>中国移动 </a:t>
            </a:r>
            <a:r>
              <a:rPr kumimoji="1" lang="en-US" altLang="zh-CN" sz="1600" b="0" dirty="0">
                <a:cs typeface="Tahoma" pitchFamily="34" charset="0"/>
              </a:rPr>
              <a:t>2007 </a:t>
            </a:r>
            <a:r>
              <a:rPr kumimoji="1" lang="zh-CN" altLang="en-US" sz="1600" b="0" dirty="0">
                <a:cs typeface="Tahoma" pitchFamily="34" charset="0"/>
              </a:rPr>
              <a:t>年开始进行 </a:t>
            </a:r>
            <a:r>
              <a:rPr kumimoji="1" lang="en-US" altLang="zh-CN" sz="1600" b="0" dirty="0">
                <a:cs typeface="Tahoma" pitchFamily="34" charset="0"/>
              </a:rPr>
              <a:t>Big Cloud </a:t>
            </a:r>
            <a:r>
              <a:rPr kumimoji="1" lang="zh-CN" altLang="en-US" sz="1600" b="0" dirty="0">
                <a:cs typeface="Tahoma" pitchFamily="34" charset="0"/>
              </a:rPr>
              <a:t>平台搭建，计划建设公众云、业务云和支撑云，基于云计算技术对现有 </a:t>
            </a:r>
            <a:r>
              <a:rPr kumimoji="1" lang="en-US" altLang="zh-CN" sz="1600" b="0" dirty="0">
                <a:cs typeface="Tahoma" pitchFamily="34" charset="0"/>
              </a:rPr>
              <a:t>IT </a:t>
            </a:r>
            <a:r>
              <a:rPr kumimoji="1" lang="zh-CN" altLang="en-US" sz="1600" b="0" dirty="0">
                <a:cs typeface="Tahoma" pitchFamily="34" charset="0"/>
              </a:rPr>
              <a:t>系统实施以南北基地为中心的集中化整合与改造。</a:t>
            </a:r>
          </a:p>
        </p:txBody>
      </p:sp>
      <p:sp>
        <p:nvSpPr>
          <p:cNvPr id="892936" name="Rectangle 8"/>
          <p:cNvSpPr>
            <a:spLocks noChangeArrowheads="1"/>
          </p:cNvSpPr>
          <p:nvPr>
            <p:custDataLst>
              <p:tags r:id="rId4"/>
            </p:custDataLst>
          </p:nvPr>
        </p:nvSpPr>
        <p:spPr bwMode="auto">
          <a:xfrm>
            <a:off x="1619250" y="4365625"/>
            <a:ext cx="7200900" cy="1582738"/>
          </a:xfrm>
          <a:prstGeom prst="rect">
            <a:avLst/>
          </a:prstGeom>
          <a:solidFill>
            <a:srgbClr val="FFC000"/>
          </a:solidFill>
          <a:ln w="9525" algn="ctr">
            <a:noFill/>
            <a:miter lim="800000"/>
            <a:headEnd/>
            <a:tailEnd/>
          </a:ln>
          <a:effectLst>
            <a:prstShdw prst="shdw17" dist="17961" dir="2700000">
              <a:schemeClr val="accent1">
                <a:gamma/>
                <a:shade val="60000"/>
                <a:invGamma/>
                <a:alpha val="50000"/>
              </a:schemeClr>
            </a:prstShdw>
          </a:effectLst>
        </p:spPr>
        <p:txBody>
          <a:bodyPr anchor="ctr"/>
          <a:lstStyle/>
          <a:p>
            <a:pPr marL="120650" indent="-120650">
              <a:lnSpc>
                <a:spcPct val="120000"/>
              </a:lnSpc>
              <a:spcBef>
                <a:spcPct val="20000"/>
              </a:spcBef>
              <a:buFontTx/>
              <a:buChar char="•"/>
              <a:defRPr/>
            </a:pPr>
            <a:r>
              <a:rPr kumimoji="1" lang="zh-CN" altLang="en-US" sz="1600" b="0" dirty="0">
                <a:cs typeface="Tahoma" pitchFamily="34" charset="0"/>
              </a:rPr>
              <a:t>中国电信在多地进行云计算试点， 发布“天翼”云计算战略、品牌及解决方案，准备明年正式运营天翼云主机、云存储等产品，一期可提供高性能虚拟</a:t>
            </a:r>
          </a:p>
          <a:p>
            <a:pPr marL="120650" indent="-120650">
              <a:lnSpc>
                <a:spcPct val="120000"/>
              </a:lnSpc>
              <a:spcBef>
                <a:spcPct val="20000"/>
              </a:spcBef>
              <a:buFontTx/>
              <a:buChar char="•"/>
              <a:defRPr/>
            </a:pPr>
            <a:r>
              <a:rPr kumimoji="1" lang="zh-CN" altLang="en-US" sz="1600" b="0" dirty="0">
                <a:cs typeface="Tahoma" pitchFamily="34" charset="0"/>
              </a:rPr>
              <a:t>主机 </a:t>
            </a:r>
            <a:r>
              <a:rPr kumimoji="1" lang="en-US" altLang="zh-CN" sz="1600" b="0" dirty="0">
                <a:cs typeface="Tahoma" pitchFamily="34" charset="0"/>
              </a:rPr>
              <a:t>2 </a:t>
            </a:r>
            <a:r>
              <a:rPr kumimoji="1" lang="zh-CN" altLang="en-US" sz="1600" b="0" dirty="0">
                <a:cs typeface="Tahoma" pitchFamily="34" charset="0"/>
              </a:rPr>
              <a:t>万台，存储容量达 </a:t>
            </a:r>
            <a:r>
              <a:rPr kumimoji="1" lang="en-US" altLang="zh-CN" sz="1600" b="0" dirty="0">
                <a:cs typeface="Tahoma" pitchFamily="34" charset="0"/>
              </a:rPr>
              <a:t>2 </a:t>
            </a:r>
            <a:r>
              <a:rPr kumimoji="1" lang="zh-CN" altLang="en-US" sz="1600" b="0" dirty="0">
                <a:cs typeface="Tahoma" pitchFamily="34" charset="0"/>
              </a:rPr>
              <a:t>万 </a:t>
            </a:r>
            <a:r>
              <a:rPr kumimoji="1" lang="en-US" altLang="zh-CN" sz="1600" b="0" dirty="0">
                <a:cs typeface="Tahoma" pitchFamily="34" charset="0"/>
              </a:rPr>
              <a:t>TB</a:t>
            </a:r>
            <a:endParaRPr kumimoji="1" lang="zh-CN" altLang="en-US" sz="1600" b="0" dirty="0">
              <a:cs typeface="Tahoma" pitchFamily="34" charset="0"/>
            </a:endParaRPr>
          </a:p>
        </p:txBody>
      </p:sp>
      <p:graphicFrame>
        <p:nvGraphicFramePr>
          <p:cNvPr id="39943" name="对象 1"/>
          <p:cNvGraphicFramePr>
            <a:graphicFrameLocks noChangeAspect="1"/>
          </p:cNvGraphicFramePr>
          <p:nvPr/>
        </p:nvGraphicFramePr>
        <p:xfrm>
          <a:off x="34925" y="3336925"/>
          <a:ext cx="1385888" cy="450850"/>
        </p:xfrm>
        <a:graphic>
          <a:graphicData uri="http://schemas.openxmlformats.org/presentationml/2006/ole">
            <mc:AlternateContent xmlns:mc="http://schemas.openxmlformats.org/markup-compatibility/2006">
              <mc:Choice xmlns:v="urn:schemas-microsoft-com:vml" Requires="v">
                <p:oleObj spid="_x0000_s39947" name="Image" r:id="rId8" imgW="2439816" imgH="762174" progId="Photoshop.Image.5">
                  <p:embed/>
                </p:oleObj>
              </mc:Choice>
              <mc:Fallback>
                <p:oleObj name="Image" r:id="rId8" imgW="2439816" imgH="762174" progId="Photoshop.Image.5">
                  <p:embed/>
                  <p:pic>
                    <p:nvPicPr>
                      <p:cNvPr id="0" name="对象 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925" y="3336925"/>
                        <a:ext cx="1385888"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9944" name="对象 2"/>
          <p:cNvGraphicFramePr>
            <a:graphicFrameLocks noChangeAspect="1"/>
          </p:cNvGraphicFramePr>
          <p:nvPr/>
        </p:nvGraphicFramePr>
        <p:xfrm>
          <a:off x="11113" y="4930775"/>
          <a:ext cx="1371600" cy="452438"/>
        </p:xfrm>
        <a:graphic>
          <a:graphicData uri="http://schemas.openxmlformats.org/presentationml/2006/ole">
            <mc:AlternateContent xmlns:mc="http://schemas.openxmlformats.org/markup-compatibility/2006">
              <mc:Choice xmlns:v="urn:schemas-microsoft-com:vml" Requires="v">
                <p:oleObj spid="_x0000_s39948" name="Image" r:id="rId10" imgW="1423226" imgH="470173" progId="Photoshop.Image.5">
                  <p:embed/>
                </p:oleObj>
              </mc:Choice>
              <mc:Fallback>
                <p:oleObj name="Image" r:id="rId10" imgW="1423226" imgH="470173" progId="Photoshop.Image.5">
                  <p:embed/>
                  <p:pic>
                    <p:nvPicPr>
                      <p:cNvPr id="0" name="对象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113" y="4930775"/>
                        <a:ext cx="1371600" cy="452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39945" name="对象 3"/>
          <p:cNvGraphicFramePr>
            <a:graphicFrameLocks noChangeAspect="1"/>
          </p:cNvGraphicFramePr>
          <p:nvPr/>
        </p:nvGraphicFramePr>
        <p:xfrm>
          <a:off x="-3175" y="1827213"/>
          <a:ext cx="1447800" cy="395287"/>
        </p:xfrm>
        <a:graphic>
          <a:graphicData uri="http://schemas.openxmlformats.org/presentationml/2006/ole">
            <mc:AlternateContent xmlns:mc="http://schemas.openxmlformats.org/markup-compatibility/2006">
              <mc:Choice xmlns:v="urn:schemas-microsoft-com:vml" Requires="v">
                <p:oleObj spid="_x0000_s39949" name="Image" r:id="rId12" imgW="1677374" imgH="457143" progId="Photoshop.Image.5">
                  <p:embed/>
                </p:oleObj>
              </mc:Choice>
              <mc:Fallback>
                <p:oleObj name="Image" r:id="rId12" imgW="1677374" imgH="457143" progId="Photoshop.Image.5">
                  <p:embed/>
                  <p:pic>
                    <p:nvPicPr>
                      <p:cNvPr id="0" name="对象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75" y="1827213"/>
                        <a:ext cx="1447800" cy="395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标题 1"/>
          <p:cNvSpPr>
            <a:spLocks noGrp="1"/>
          </p:cNvSpPr>
          <p:nvPr>
            <p:ph type="title"/>
          </p:nvPr>
        </p:nvSpPr>
        <p:spPr>
          <a:xfrm>
            <a:off x="0" y="15875"/>
            <a:ext cx="8201025" cy="460375"/>
          </a:xfrm>
        </p:spPr>
        <p:txBody>
          <a:bodyPr/>
          <a:lstStyle/>
          <a:p>
            <a:r>
              <a:rPr lang="zh-CN" altLang="en-US" smtClean="0"/>
              <a:t>云计算原理</a:t>
            </a:r>
          </a:p>
        </p:txBody>
      </p:sp>
      <p:sp>
        <p:nvSpPr>
          <p:cNvPr id="12291" name="内容占位符 2"/>
          <p:cNvSpPr>
            <a:spLocks noGrp="1"/>
          </p:cNvSpPr>
          <p:nvPr>
            <p:ph idx="1"/>
          </p:nvPr>
        </p:nvSpPr>
        <p:spPr>
          <a:xfrm>
            <a:off x="457200" y="933450"/>
            <a:ext cx="8229600" cy="3935413"/>
          </a:xfrm>
        </p:spPr>
        <p:txBody>
          <a:bodyPr/>
          <a:lstStyle/>
          <a:p>
            <a:r>
              <a:rPr lang="zh-CN" altLang="en-US" smtClean="0"/>
              <a:t/>
            </a:r>
            <a:br>
              <a:rPr lang="zh-CN" altLang="en-US" smtClean="0"/>
            </a:br>
            <a:endParaRPr lang="zh-CN" altLang="en-US" smtClean="0"/>
          </a:p>
        </p:txBody>
      </p:sp>
      <p:sp>
        <p:nvSpPr>
          <p:cNvPr id="12292" name="AutoShape 15"/>
          <p:cNvSpPr>
            <a:spLocks noChangeArrowheads="1"/>
          </p:cNvSpPr>
          <p:nvPr/>
        </p:nvSpPr>
        <p:spPr bwMode="auto">
          <a:xfrm>
            <a:off x="5381625" y="3903663"/>
            <a:ext cx="1933575" cy="2662237"/>
          </a:xfrm>
          <a:prstGeom prst="roundRect">
            <a:avLst>
              <a:gd name="adj" fmla="val 16667"/>
            </a:avLst>
          </a:prstGeom>
          <a:solidFill>
            <a:srgbClr val="00B0F0"/>
          </a:solidFill>
          <a:ln w="9525">
            <a:solidFill>
              <a:srgbClr val="336699"/>
            </a:solidFill>
            <a:round/>
            <a:headEnd/>
            <a:tailEnd/>
          </a:ln>
        </p:spPr>
        <p:txBody>
          <a:bodyPr/>
          <a:lstStyle/>
          <a:p>
            <a:pPr marL="0" lvl="2" indent="177800">
              <a:spcBef>
                <a:spcPts val="500"/>
              </a:spcBef>
              <a:buClr>
                <a:srgbClr val="A4001E"/>
              </a:buClr>
              <a:buFont typeface="Wingdings" pitchFamily="2" charset="2"/>
              <a:buChar char="l"/>
            </a:pPr>
            <a:r>
              <a:rPr kumimoji="1" lang="zh-CN" altLang="en-US" sz="2000">
                <a:solidFill>
                  <a:schemeClr val="bg1"/>
                </a:solidFill>
                <a:ea typeface="宋体" pitchFamily="2" charset="-122"/>
              </a:rPr>
              <a:t>在动态、多机构参与的虚拟组织中协同共享资源和求解问题 </a:t>
            </a:r>
          </a:p>
          <a:p>
            <a:endParaRPr lang="zh-CN" altLang="en-US"/>
          </a:p>
        </p:txBody>
      </p:sp>
      <p:sp>
        <p:nvSpPr>
          <p:cNvPr id="12293" name="AutoShape 15"/>
          <p:cNvSpPr>
            <a:spLocks noChangeArrowheads="1"/>
          </p:cNvSpPr>
          <p:nvPr/>
        </p:nvSpPr>
        <p:spPr bwMode="auto">
          <a:xfrm>
            <a:off x="1493838" y="3903663"/>
            <a:ext cx="1727200" cy="2662237"/>
          </a:xfrm>
          <a:prstGeom prst="roundRect">
            <a:avLst>
              <a:gd name="adj" fmla="val 16667"/>
            </a:avLst>
          </a:prstGeom>
          <a:solidFill>
            <a:srgbClr val="00B0F0"/>
          </a:solidFill>
          <a:ln w="9525">
            <a:solidFill>
              <a:srgbClr val="336699"/>
            </a:solidFill>
            <a:round/>
            <a:headEnd/>
            <a:tailEnd/>
          </a:ln>
        </p:spPr>
        <p:txBody>
          <a:bodyPr/>
          <a:lstStyle/>
          <a:p>
            <a:pPr marL="0" lvl="2" indent="177800">
              <a:spcBef>
                <a:spcPts val="500"/>
              </a:spcBef>
              <a:buClr>
                <a:srgbClr val="A4001E"/>
              </a:buClr>
              <a:buFont typeface="Wingdings" pitchFamily="2" charset="2"/>
              <a:buChar char="l"/>
            </a:pPr>
            <a:r>
              <a:rPr kumimoji="1" lang="zh-CN" altLang="en-US" sz="2000">
                <a:solidFill>
                  <a:schemeClr val="bg1"/>
                </a:solidFill>
                <a:ea typeface="宋体" pitchFamily="2" charset="-122"/>
              </a:rPr>
              <a:t>同时使用多种计算资源解决计算问题的过程</a:t>
            </a:r>
            <a:r>
              <a:rPr kumimoji="1" lang="zh-CN" altLang="en-US" sz="2400">
                <a:solidFill>
                  <a:schemeClr val="bg1"/>
                </a:solidFill>
                <a:ea typeface="宋体" pitchFamily="2" charset="-122"/>
              </a:rPr>
              <a:t> </a:t>
            </a:r>
          </a:p>
        </p:txBody>
      </p:sp>
      <p:sp>
        <p:nvSpPr>
          <p:cNvPr id="12294" name="AutoShape 15"/>
          <p:cNvSpPr>
            <a:spLocks noChangeArrowheads="1"/>
          </p:cNvSpPr>
          <p:nvPr/>
        </p:nvSpPr>
        <p:spPr bwMode="auto">
          <a:xfrm>
            <a:off x="3365500" y="3903663"/>
            <a:ext cx="1871663" cy="2660650"/>
          </a:xfrm>
          <a:prstGeom prst="roundRect">
            <a:avLst>
              <a:gd name="adj" fmla="val 16667"/>
            </a:avLst>
          </a:prstGeom>
          <a:solidFill>
            <a:srgbClr val="00B0F0"/>
          </a:solidFill>
          <a:ln w="9525">
            <a:solidFill>
              <a:srgbClr val="336699"/>
            </a:solidFill>
            <a:round/>
            <a:headEnd/>
            <a:tailEnd/>
          </a:ln>
        </p:spPr>
        <p:txBody>
          <a:bodyPr/>
          <a:lstStyle/>
          <a:p>
            <a:pPr marL="0" lvl="2" indent="177800">
              <a:spcBef>
                <a:spcPts val="500"/>
              </a:spcBef>
              <a:buClr>
                <a:srgbClr val="A4001E"/>
              </a:buClr>
              <a:buFont typeface="Wingdings" pitchFamily="2" charset="2"/>
              <a:buChar char="l"/>
            </a:pPr>
            <a:r>
              <a:rPr kumimoji="1" lang="zh-CN" altLang="en-US" sz="2000">
                <a:solidFill>
                  <a:schemeClr val="bg1"/>
                </a:solidFill>
                <a:ea typeface="宋体" pitchFamily="2" charset="-122"/>
              </a:rPr>
              <a:t>将需要巨大计算能力的问题分成许多小部分进行处理，最后综合结果</a:t>
            </a:r>
          </a:p>
        </p:txBody>
      </p:sp>
      <p:sp>
        <p:nvSpPr>
          <p:cNvPr id="12295" name="Oval 7"/>
          <p:cNvSpPr>
            <a:spLocks noChangeArrowheads="1"/>
          </p:cNvSpPr>
          <p:nvPr/>
        </p:nvSpPr>
        <p:spPr bwMode="auto">
          <a:xfrm>
            <a:off x="3581400" y="2895600"/>
            <a:ext cx="1530350" cy="1014413"/>
          </a:xfrm>
          <a:prstGeom prst="ellipse">
            <a:avLst/>
          </a:prstGeom>
          <a:gradFill rotWithShape="1">
            <a:gsLst>
              <a:gs pos="0">
                <a:srgbClr val="FF9900"/>
              </a:gs>
              <a:gs pos="100000">
                <a:srgbClr val="432800"/>
              </a:gs>
            </a:gsLst>
            <a:path path="rect">
              <a:fillToRect r="100000" b="10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latinLnBrk="1"/>
            <a:r>
              <a:rPr kumimoji="1" lang="zh-CN" altLang="en-US" sz="1600">
                <a:ea typeface="宋体" pitchFamily="2" charset="-122"/>
              </a:rPr>
              <a:t>分布式计算 </a:t>
            </a:r>
          </a:p>
        </p:txBody>
      </p:sp>
      <p:sp>
        <p:nvSpPr>
          <p:cNvPr id="12296" name="Oval 8"/>
          <p:cNvSpPr>
            <a:spLocks noChangeArrowheads="1"/>
          </p:cNvSpPr>
          <p:nvPr/>
        </p:nvSpPr>
        <p:spPr bwMode="auto">
          <a:xfrm>
            <a:off x="1781175" y="2889250"/>
            <a:ext cx="1368425" cy="1014413"/>
          </a:xfrm>
          <a:prstGeom prst="ellipse">
            <a:avLst/>
          </a:prstGeom>
          <a:gradFill rotWithShape="1">
            <a:gsLst>
              <a:gs pos="0">
                <a:srgbClr val="99CCFF"/>
              </a:gs>
              <a:gs pos="100000">
                <a:srgbClr val="283643"/>
              </a:gs>
            </a:gsLst>
            <a:path path="rect">
              <a:fillToRect r="100000" b="10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latinLnBrk="1"/>
            <a:r>
              <a:rPr kumimoji="1" lang="zh-CN" altLang="en-US" sz="1600">
                <a:solidFill>
                  <a:srgbClr val="FFFFFF"/>
                </a:solidFill>
              </a:rPr>
              <a:t>并行计算</a:t>
            </a:r>
          </a:p>
        </p:txBody>
      </p:sp>
      <p:sp>
        <p:nvSpPr>
          <p:cNvPr id="12297" name="Oval 9"/>
          <p:cNvSpPr>
            <a:spLocks noChangeArrowheads="1"/>
          </p:cNvSpPr>
          <p:nvPr/>
        </p:nvSpPr>
        <p:spPr bwMode="auto">
          <a:xfrm>
            <a:off x="5526088" y="2895600"/>
            <a:ext cx="1511300" cy="1014413"/>
          </a:xfrm>
          <a:prstGeom prst="ellipse">
            <a:avLst/>
          </a:prstGeom>
          <a:gradFill rotWithShape="1">
            <a:gsLst>
              <a:gs pos="0">
                <a:srgbClr val="CC99FF"/>
              </a:gs>
              <a:gs pos="100000">
                <a:srgbClr val="362843"/>
              </a:gs>
            </a:gsLst>
            <a:path path="rect">
              <a:fillToRect r="100000" b="100000"/>
            </a:path>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latinLnBrk="1"/>
            <a:r>
              <a:rPr kumimoji="1" lang="zh-CN" altLang="en-US" sz="1600">
                <a:ea typeface="宋体" pitchFamily="2" charset="-122"/>
              </a:rPr>
              <a:t>网格计算 </a:t>
            </a:r>
          </a:p>
        </p:txBody>
      </p:sp>
      <p:sp>
        <p:nvSpPr>
          <p:cNvPr id="12298" name="AutoShape 5"/>
          <p:cNvSpPr>
            <a:spLocks noChangeArrowheads="1"/>
          </p:cNvSpPr>
          <p:nvPr/>
        </p:nvSpPr>
        <p:spPr bwMode="auto">
          <a:xfrm>
            <a:off x="533400" y="1295400"/>
            <a:ext cx="7970838" cy="879475"/>
          </a:xfrm>
          <a:prstGeom prst="roundRect">
            <a:avLst>
              <a:gd name="adj" fmla="val 50000"/>
            </a:avLst>
          </a:prstGeom>
          <a:gradFill rotWithShape="1">
            <a:gsLst>
              <a:gs pos="0">
                <a:srgbClr val="99CC00"/>
              </a:gs>
              <a:gs pos="100000">
                <a:srgbClr val="567200"/>
              </a:gs>
            </a:gsLst>
            <a:lin ang="5400000" scaled="1"/>
          </a:gradFill>
          <a:ln>
            <a:noFill/>
          </a:ln>
          <a:effectLst>
            <a:outerShdw dist="107763" dir="2700000" algn="ctr" rotWithShape="0">
              <a:srgbClr val="008080">
                <a:alpha val="50000"/>
              </a:srgbClr>
            </a:outerShdw>
          </a:effectLst>
          <a:extLst>
            <a:ext uri="{91240B29-F687-4F45-9708-019B960494DF}">
              <a14:hiddenLine xmlns:a14="http://schemas.microsoft.com/office/drawing/2010/main" w="9525">
                <a:solidFill>
                  <a:srgbClr val="000000"/>
                </a:solidFill>
                <a:round/>
                <a:headEnd/>
                <a:tailEnd/>
              </a14:hiddenLine>
            </a:ext>
          </a:extLst>
        </p:spPr>
        <p:txBody>
          <a:bodyPr wrap="none" anchor="ctr"/>
          <a:lstStyle/>
          <a:p>
            <a:pPr marL="285750" indent="-285750" algn="ctr" latinLnBrk="1">
              <a:buFont typeface="Wingdings" pitchFamily="2" charset="2"/>
              <a:buNone/>
            </a:pPr>
            <a:r>
              <a:rPr kumimoji="1" lang="zh-CN" altLang="en-US" sz="3200">
                <a:solidFill>
                  <a:srgbClr val="FFFFFF"/>
                </a:solidFill>
              </a:rPr>
              <a:t>云计算</a:t>
            </a:r>
          </a:p>
        </p:txBody>
      </p:sp>
      <p:sp>
        <p:nvSpPr>
          <p:cNvPr id="12299" name="Freeform 4"/>
          <p:cNvSpPr>
            <a:spLocks/>
          </p:cNvSpPr>
          <p:nvPr/>
        </p:nvSpPr>
        <p:spPr bwMode="auto">
          <a:xfrm>
            <a:off x="2146300" y="2227263"/>
            <a:ext cx="4806950" cy="838200"/>
          </a:xfrm>
          <a:custGeom>
            <a:avLst/>
            <a:gdLst>
              <a:gd name="T0" fmla="*/ 2147483647 w 5034"/>
              <a:gd name="T1" fmla="*/ 0 h 1908"/>
              <a:gd name="T2" fmla="*/ 2147483647 w 5034"/>
              <a:gd name="T3" fmla="*/ 2147483647 h 1908"/>
              <a:gd name="T4" fmla="*/ 2147483647 w 5034"/>
              <a:gd name="T5" fmla="*/ 2147483647 h 1908"/>
              <a:gd name="T6" fmla="*/ 0 w 5034"/>
              <a:gd name="T7" fmla="*/ 2147483647 h 1908"/>
              <a:gd name="T8" fmla="*/ 2147483647 w 5034"/>
              <a:gd name="T9" fmla="*/ 2147483647 h 1908"/>
              <a:gd name="T10" fmla="*/ 2147483647 w 5034"/>
              <a:gd name="T11" fmla="*/ 2147483647 h 1908"/>
              <a:gd name="T12" fmla="*/ 2147483647 w 5034"/>
              <a:gd name="T13" fmla="*/ 2147483647 h 1908"/>
              <a:gd name="T14" fmla="*/ 2147483647 w 5034"/>
              <a:gd name="T15" fmla="*/ 0 h 1908"/>
              <a:gd name="T16" fmla="*/ 0 60000 65536"/>
              <a:gd name="T17" fmla="*/ 0 60000 65536"/>
              <a:gd name="T18" fmla="*/ 0 60000 65536"/>
              <a:gd name="T19" fmla="*/ 0 60000 65536"/>
              <a:gd name="T20" fmla="*/ 0 60000 65536"/>
              <a:gd name="T21" fmla="*/ 0 60000 65536"/>
              <a:gd name="T22" fmla="*/ 0 60000 65536"/>
              <a:gd name="T23" fmla="*/ 0 60000 65536"/>
              <a:gd name="T24" fmla="*/ 0 w 5034"/>
              <a:gd name="T25" fmla="*/ 0 h 1908"/>
              <a:gd name="T26" fmla="*/ 5034 w 5034"/>
              <a:gd name="T27" fmla="*/ 1908 h 190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034" h="1908">
                <a:moveTo>
                  <a:pt x="2502" y="0"/>
                </a:moveTo>
                <a:lnTo>
                  <a:pt x="1465" y="383"/>
                </a:lnTo>
                <a:lnTo>
                  <a:pt x="1783" y="383"/>
                </a:lnTo>
                <a:lnTo>
                  <a:pt x="0" y="1908"/>
                </a:lnTo>
                <a:lnTo>
                  <a:pt x="5034" y="1908"/>
                </a:lnTo>
                <a:lnTo>
                  <a:pt x="3229" y="383"/>
                </a:lnTo>
                <a:lnTo>
                  <a:pt x="3613" y="395"/>
                </a:lnTo>
                <a:lnTo>
                  <a:pt x="2502" y="0"/>
                </a:lnTo>
                <a:close/>
              </a:path>
            </a:pathLst>
          </a:custGeom>
          <a:gradFill rotWithShape="1">
            <a:gsLst>
              <a:gs pos="0">
                <a:srgbClr val="66CCFF"/>
              </a:gs>
              <a:gs pos="100000">
                <a:srgbClr val="FFFFFF">
                  <a:alpha val="0"/>
                </a:srgb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Oval 4"/>
          <p:cNvSpPr>
            <a:spLocks noChangeArrowheads="1"/>
          </p:cNvSpPr>
          <p:nvPr/>
        </p:nvSpPr>
        <p:spPr bwMode="gray">
          <a:xfrm>
            <a:off x="2347913" y="4983163"/>
            <a:ext cx="4581525" cy="1046162"/>
          </a:xfrm>
          <a:prstGeom prst="ellipse">
            <a:avLst/>
          </a:prstGeom>
          <a:gradFill rotWithShape="1">
            <a:gsLst>
              <a:gs pos="0">
                <a:srgbClr val="292929"/>
              </a:gs>
              <a:gs pos="100000">
                <a:schemeClr val="bg1"/>
              </a:gs>
            </a:gsLst>
            <a:lin ang="2700000" scaled="1"/>
          </a:gradFill>
          <a:ln>
            <a:noFill/>
          </a:ln>
          <a:extLst>
            <a:ext uri="{91240B29-F687-4F45-9708-019B960494DF}">
              <a14:hiddenLine xmlns:a14="http://schemas.microsoft.com/office/drawing/2010/main" w="3175">
                <a:solidFill>
                  <a:srgbClr val="000000"/>
                </a:solidFill>
                <a:round/>
                <a:headEnd/>
                <a:tailEnd type="none" w="sm" len="sm"/>
              </a14:hiddenLine>
            </a:ext>
          </a:extLst>
        </p:spPr>
        <p:txBody>
          <a:bodyPr vert="eaVert" wrap="none" lIns="92075" tIns="46038" rIns="92075" bIns="46038" anchor="ctr"/>
          <a:lstStyle/>
          <a:p>
            <a:pPr eaLnBrk="0" hangingPunct="0">
              <a:lnSpc>
                <a:spcPct val="110000"/>
              </a:lnSpc>
              <a:spcBef>
                <a:spcPct val="30000"/>
              </a:spcBef>
              <a:buClr>
                <a:srgbClr val="0000CC"/>
              </a:buClr>
              <a:buFont typeface="Wingdings" pitchFamily="2" charset="2"/>
              <a:buNone/>
            </a:pPr>
            <a:endParaRPr lang="zh-CN" altLang="en-US"/>
          </a:p>
        </p:txBody>
      </p:sp>
      <p:sp>
        <p:nvSpPr>
          <p:cNvPr id="12291" name="Title 1"/>
          <p:cNvSpPr>
            <a:spLocks noGrp="1"/>
          </p:cNvSpPr>
          <p:nvPr>
            <p:ph type="title"/>
          </p:nvPr>
        </p:nvSpPr>
        <p:spPr>
          <a:xfrm>
            <a:off x="0" y="0"/>
            <a:ext cx="7043738" cy="900113"/>
          </a:xfrm>
        </p:spPr>
        <p:txBody>
          <a:bodyPr/>
          <a:lstStyle/>
          <a:p>
            <a:pPr>
              <a:defRPr/>
            </a:pPr>
            <a:r>
              <a:rPr lang="zh-CN" altLang="en-US" kern="1200" dirty="0" smtClean="0"/>
              <a:t> 云计算的特点</a:t>
            </a:r>
          </a:p>
        </p:txBody>
      </p:sp>
      <p:sp>
        <p:nvSpPr>
          <p:cNvPr id="13316" name="TextBox 23"/>
          <p:cNvSpPr txBox="1">
            <a:spLocks noChangeArrowheads="1"/>
          </p:cNvSpPr>
          <p:nvPr/>
        </p:nvSpPr>
        <p:spPr bwMode="auto">
          <a:xfrm>
            <a:off x="6715125" y="2266950"/>
            <a:ext cx="2143125" cy="954088"/>
          </a:xfrm>
          <a:prstGeom prst="rect">
            <a:avLst/>
          </a:prstGeom>
          <a:solidFill>
            <a:schemeClr val="bg1"/>
          </a:solidFill>
          <a:ln w="9525">
            <a:solidFill>
              <a:srgbClr val="00B0F0"/>
            </a:solidFill>
            <a:miter lim="800000"/>
            <a:headEnd/>
            <a:tailEnd/>
          </a:ln>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nSpc>
                <a:spcPct val="110000"/>
              </a:lnSpc>
              <a:spcBef>
                <a:spcPts val="600"/>
              </a:spcBef>
              <a:buClr>
                <a:srgbClr val="0000CC"/>
              </a:buClr>
              <a:buFontTx/>
              <a:buBlip>
                <a:blip r:embed="rId2"/>
              </a:buBlip>
            </a:pPr>
            <a:r>
              <a:rPr lang="zh-CN" altLang="en-US" sz="1400"/>
              <a:t>系统具备高度的扩展性和弹性，可以以即插即用的方式方便、快速地增加和减少资源</a:t>
            </a:r>
          </a:p>
        </p:txBody>
      </p:sp>
      <p:sp>
        <p:nvSpPr>
          <p:cNvPr id="13317" name="TextBox 24"/>
          <p:cNvSpPr txBox="1">
            <a:spLocks noChangeArrowheads="1"/>
          </p:cNvSpPr>
          <p:nvPr/>
        </p:nvSpPr>
        <p:spPr bwMode="auto">
          <a:xfrm>
            <a:off x="6715125" y="3660775"/>
            <a:ext cx="2143125" cy="2535238"/>
          </a:xfrm>
          <a:prstGeom prst="rect">
            <a:avLst/>
          </a:prstGeom>
          <a:solidFill>
            <a:schemeClr val="bg1"/>
          </a:solidFill>
          <a:ln w="9525">
            <a:solidFill>
              <a:srgbClr val="00B0F0"/>
            </a:solidFill>
            <a:miter lim="800000"/>
            <a:headEnd/>
            <a:tailEnd/>
          </a:ln>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nSpc>
                <a:spcPct val="110000"/>
              </a:lnSpc>
              <a:spcBef>
                <a:spcPts val="600"/>
              </a:spcBef>
              <a:buClr>
                <a:srgbClr val="0000CC"/>
              </a:buClr>
              <a:buFontTx/>
              <a:buBlip>
                <a:blip r:embed="rId2"/>
              </a:buBlip>
            </a:pPr>
            <a:r>
              <a:rPr lang="zh-CN" altLang="en-US" sz="1400"/>
              <a:t>提供一种或多种形式的计算或存储能力资源池，如物理服务器，虚拟服务器（虚拟机），事务和文件处理能力或任务进程（如并行计算），以及存储能力等</a:t>
            </a:r>
            <a:endParaRPr lang="en-US" altLang="zh-CN" sz="1400"/>
          </a:p>
          <a:p>
            <a:pPr>
              <a:lnSpc>
                <a:spcPct val="110000"/>
              </a:lnSpc>
              <a:spcBef>
                <a:spcPts val="600"/>
              </a:spcBef>
              <a:buClr>
                <a:srgbClr val="0000CC"/>
              </a:buClr>
              <a:buFontTx/>
              <a:buBlip>
                <a:blip r:embed="rId2"/>
              </a:buBlip>
            </a:pPr>
            <a:r>
              <a:rPr lang="zh-CN" altLang="en-US" sz="1400"/>
              <a:t>资源池可通过抽象化方式提供，并能够同时为多种应用提供服务</a:t>
            </a:r>
          </a:p>
        </p:txBody>
      </p:sp>
      <p:sp>
        <p:nvSpPr>
          <p:cNvPr id="13318" name="TextBox 25"/>
          <p:cNvSpPr txBox="1">
            <a:spLocks noChangeArrowheads="1"/>
          </p:cNvSpPr>
          <p:nvPr/>
        </p:nvSpPr>
        <p:spPr bwMode="auto">
          <a:xfrm>
            <a:off x="285750" y="4598988"/>
            <a:ext cx="1500188" cy="1514475"/>
          </a:xfrm>
          <a:prstGeom prst="rect">
            <a:avLst/>
          </a:prstGeom>
          <a:solidFill>
            <a:schemeClr val="bg1"/>
          </a:solidFill>
          <a:ln w="9525">
            <a:solidFill>
              <a:srgbClr val="00B0F0"/>
            </a:solidFill>
            <a:miter lim="800000"/>
            <a:headEnd/>
            <a:tailEnd/>
          </a:ln>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nSpc>
                <a:spcPct val="110000"/>
              </a:lnSpc>
              <a:spcBef>
                <a:spcPts val="600"/>
              </a:spcBef>
              <a:buClr>
                <a:srgbClr val="0000CC"/>
              </a:buClr>
              <a:buFontTx/>
              <a:buBlip>
                <a:blip r:embed="rId2"/>
              </a:buBlip>
            </a:pPr>
            <a:r>
              <a:rPr lang="zh-CN" altLang="en-US" sz="1400"/>
              <a:t>实现资源的自动分配管理，包括资源即时监控和自动调度等，并能够提供使用量监控和管理</a:t>
            </a:r>
          </a:p>
        </p:txBody>
      </p:sp>
      <p:sp>
        <p:nvSpPr>
          <p:cNvPr id="13319" name="TextBox 26"/>
          <p:cNvSpPr txBox="1">
            <a:spLocks noChangeArrowheads="1"/>
          </p:cNvSpPr>
          <p:nvPr/>
        </p:nvSpPr>
        <p:spPr bwMode="auto">
          <a:xfrm>
            <a:off x="285750" y="2266950"/>
            <a:ext cx="1500188" cy="1751013"/>
          </a:xfrm>
          <a:prstGeom prst="rect">
            <a:avLst/>
          </a:prstGeom>
          <a:solidFill>
            <a:schemeClr val="bg1"/>
          </a:solidFill>
          <a:ln w="9525">
            <a:solidFill>
              <a:srgbClr val="00B0F0"/>
            </a:solidFill>
            <a:miter lim="800000"/>
            <a:headEnd/>
            <a:tailEnd/>
          </a:ln>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nSpc>
                <a:spcPct val="110000"/>
              </a:lnSpc>
              <a:spcBef>
                <a:spcPts val="600"/>
              </a:spcBef>
              <a:buClr>
                <a:srgbClr val="0000CC"/>
              </a:buClr>
              <a:buFontTx/>
              <a:buBlip>
                <a:blip r:embed="rId2"/>
              </a:buBlip>
            </a:pPr>
            <a:r>
              <a:rPr lang="zh-CN" altLang="en-US" sz="1400"/>
              <a:t>能够将分布于于多个物理地点的资源进行整合，提供统一的资源共享，并能在各物理地点间实现负载均衡</a:t>
            </a:r>
          </a:p>
        </p:txBody>
      </p:sp>
      <p:sp>
        <p:nvSpPr>
          <p:cNvPr id="13320" name="TextBox 27"/>
          <p:cNvSpPr txBox="1">
            <a:spLocks noChangeArrowheads="1"/>
          </p:cNvSpPr>
          <p:nvPr/>
        </p:nvSpPr>
        <p:spPr bwMode="auto">
          <a:xfrm>
            <a:off x="2571750" y="2266950"/>
            <a:ext cx="3214688" cy="527050"/>
          </a:xfrm>
          <a:prstGeom prst="rect">
            <a:avLst/>
          </a:prstGeom>
          <a:solidFill>
            <a:schemeClr val="bg1"/>
          </a:solidFill>
          <a:ln w="9525">
            <a:solidFill>
              <a:srgbClr val="00B0F0"/>
            </a:solidFill>
            <a:miter lim="800000"/>
            <a:headEnd/>
            <a:tailEnd/>
          </a:ln>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nSpc>
                <a:spcPct val="110000"/>
              </a:lnSpc>
              <a:spcBef>
                <a:spcPts val="600"/>
              </a:spcBef>
              <a:buClr>
                <a:srgbClr val="0000CC"/>
              </a:buClr>
              <a:buFontTx/>
              <a:buBlip>
                <a:blip r:embed="rId2"/>
              </a:buBlip>
            </a:pPr>
            <a:r>
              <a:rPr lang="zh-CN" altLang="en-US" sz="1400"/>
              <a:t>由具备一定规模的多个节点组成的</a:t>
            </a:r>
            <a:r>
              <a:rPr lang="en-US" altLang="zh-CN" sz="1400"/>
              <a:t>IT</a:t>
            </a:r>
            <a:r>
              <a:rPr lang="zh-CN" altLang="en-US" sz="1400"/>
              <a:t>系统，系统规模几乎可以无限扩大</a:t>
            </a:r>
          </a:p>
        </p:txBody>
      </p:sp>
      <p:sp>
        <p:nvSpPr>
          <p:cNvPr id="6" name="Oval 5"/>
          <p:cNvSpPr>
            <a:spLocks noChangeArrowheads="1"/>
          </p:cNvSpPr>
          <p:nvPr/>
        </p:nvSpPr>
        <p:spPr bwMode="gray">
          <a:xfrm rot="20601703">
            <a:off x="1781175" y="3316288"/>
            <a:ext cx="4683125" cy="2381250"/>
          </a:xfrm>
          <a:prstGeom prst="ellipse">
            <a:avLst/>
          </a:prstGeom>
          <a:gradFill rotWithShape="0">
            <a:gsLst>
              <a:gs pos="0">
                <a:schemeClr val="bg2">
                  <a:gamma/>
                  <a:shade val="39216"/>
                  <a:invGamma/>
                </a:schemeClr>
              </a:gs>
              <a:gs pos="50000">
                <a:schemeClr val="bg2"/>
              </a:gs>
              <a:gs pos="100000">
                <a:schemeClr val="bg2">
                  <a:gamma/>
                  <a:shade val="39216"/>
                  <a:invGamma/>
                </a:schemeClr>
              </a:gs>
            </a:gsLst>
            <a:lin ang="0" scaled="1"/>
          </a:gradFill>
          <a:ln w="12700">
            <a:noFill/>
            <a:round/>
            <a:headEnd type="none" w="sm" len="sm"/>
            <a:tailEnd type="none" w="sm" len="sm"/>
          </a:ln>
          <a:effectLst/>
        </p:spPr>
        <p:txBody>
          <a:bodyPr wrap="none" anchor="ctr"/>
          <a:lstStyle/>
          <a:p>
            <a:pPr eaLnBrk="0" hangingPunct="0">
              <a:lnSpc>
                <a:spcPct val="110000"/>
              </a:lnSpc>
              <a:spcBef>
                <a:spcPct val="30000"/>
              </a:spcBef>
              <a:buClr>
                <a:srgbClr val="0000CC"/>
              </a:buClr>
              <a:buFont typeface="Wingdings" pitchFamily="2" charset="2"/>
              <a:buNone/>
              <a:defRPr/>
            </a:pPr>
            <a:endParaRPr lang="zh-CN" altLang="en-US"/>
          </a:p>
        </p:txBody>
      </p:sp>
      <p:sp>
        <p:nvSpPr>
          <p:cNvPr id="13322" name="Oval 6"/>
          <p:cNvSpPr>
            <a:spLocks noChangeArrowheads="1"/>
          </p:cNvSpPr>
          <p:nvPr/>
        </p:nvSpPr>
        <p:spPr bwMode="gray">
          <a:xfrm rot="-998297">
            <a:off x="1797050" y="3187700"/>
            <a:ext cx="4581525" cy="2306638"/>
          </a:xfrm>
          <a:prstGeom prst="ellipse">
            <a:avLst/>
          </a:prstGeom>
          <a:gradFill rotWithShape="1">
            <a:gsLst>
              <a:gs pos="0">
                <a:srgbClr val="2791BB"/>
              </a:gs>
              <a:gs pos="100000">
                <a:srgbClr val="000000"/>
              </a:gs>
            </a:gsLst>
            <a:lin ang="2700000" scaled="1"/>
          </a:gra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anchor="ctr"/>
          <a:lstStyle/>
          <a:p>
            <a:pPr eaLnBrk="0" hangingPunct="0">
              <a:lnSpc>
                <a:spcPct val="110000"/>
              </a:lnSpc>
              <a:spcBef>
                <a:spcPct val="30000"/>
              </a:spcBef>
              <a:buClr>
                <a:srgbClr val="0000CC"/>
              </a:buClr>
              <a:buFont typeface="Wingdings" pitchFamily="2" charset="2"/>
              <a:buNone/>
            </a:pPr>
            <a:endParaRPr lang="zh-CN" altLang="en-US"/>
          </a:p>
        </p:txBody>
      </p:sp>
      <p:sp>
        <p:nvSpPr>
          <p:cNvPr id="8" name="Arc 7"/>
          <p:cNvSpPr>
            <a:spLocks/>
          </p:cNvSpPr>
          <p:nvPr/>
        </p:nvSpPr>
        <p:spPr bwMode="gray">
          <a:xfrm rot="20601703">
            <a:off x="3984625" y="3100388"/>
            <a:ext cx="2347913" cy="1550987"/>
          </a:xfrm>
          <a:custGeom>
            <a:avLst/>
            <a:gdLst>
              <a:gd name="G0" fmla="+- 0 0 0"/>
              <a:gd name="G1" fmla="+- 17105 0 0"/>
              <a:gd name="G2" fmla="+- 21600 0 0"/>
              <a:gd name="T0" fmla="*/ 13190 w 21600"/>
              <a:gd name="T1" fmla="*/ 0 h 29046"/>
              <a:gd name="T2" fmla="*/ 17999 w 21600"/>
              <a:gd name="T3" fmla="*/ 29046 h 29046"/>
              <a:gd name="T4" fmla="*/ 0 w 21600"/>
              <a:gd name="T5" fmla="*/ 17105 h 29046"/>
            </a:gdLst>
            <a:ahLst/>
            <a:cxnLst>
              <a:cxn ang="0">
                <a:pos x="T0" y="T1"/>
              </a:cxn>
              <a:cxn ang="0">
                <a:pos x="T2" y="T3"/>
              </a:cxn>
              <a:cxn ang="0">
                <a:pos x="T4" y="T5"/>
              </a:cxn>
            </a:cxnLst>
            <a:rect l="0" t="0" r="r" b="b"/>
            <a:pathLst>
              <a:path w="21600" h="29046" fill="none" extrusionOk="0">
                <a:moveTo>
                  <a:pt x="13190" y="-1"/>
                </a:moveTo>
                <a:cubicBezTo>
                  <a:pt x="18493" y="4089"/>
                  <a:pt x="21600" y="10407"/>
                  <a:pt x="21600" y="17105"/>
                </a:cubicBezTo>
                <a:cubicBezTo>
                  <a:pt x="21600" y="21352"/>
                  <a:pt x="20347" y="25506"/>
                  <a:pt x="17999" y="29046"/>
                </a:cubicBezTo>
              </a:path>
              <a:path w="21600" h="29046" stroke="0" extrusionOk="0">
                <a:moveTo>
                  <a:pt x="13190" y="-1"/>
                </a:moveTo>
                <a:cubicBezTo>
                  <a:pt x="18493" y="4089"/>
                  <a:pt x="21600" y="10407"/>
                  <a:pt x="21600" y="17105"/>
                </a:cubicBezTo>
                <a:cubicBezTo>
                  <a:pt x="21600" y="21352"/>
                  <a:pt x="20347" y="25506"/>
                  <a:pt x="17999" y="29046"/>
                </a:cubicBezTo>
                <a:lnTo>
                  <a:pt x="0" y="17105"/>
                </a:lnTo>
                <a:close/>
              </a:path>
            </a:pathLst>
          </a:custGeom>
          <a:gradFill rotWithShape="1">
            <a:gsLst>
              <a:gs pos="0">
                <a:schemeClr val="hlink"/>
              </a:gs>
              <a:gs pos="100000">
                <a:schemeClr val="hlink">
                  <a:gamma/>
                  <a:tint val="66667"/>
                  <a:invGamma/>
                </a:schemeClr>
              </a:gs>
            </a:gsLst>
            <a:lin ang="2700000" scaled="1"/>
          </a:gradFill>
          <a:ln w="12700">
            <a:noFill/>
            <a:round/>
            <a:headEnd type="none" w="sm" len="sm"/>
            <a:tailEnd type="none" w="sm" len="sm"/>
          </a:ln>
          <a:effectLst/>
        </p:spPr>
        <p:txBody>
          <a:bodyPr wrap="none" anchor="ctr"/>
          <a:lstStyle/>
          <a:p>
            <a:pPr eaLnBrk="0" fontAlgn="auto" hangingPunct="0">
              <a:lnSpc>
                <a:spcPct val="110000"/>
              </a:lnSpc>
              <a:spcBef>
                <a:spcPts val="0"/>
              </a:spcBef>
              <a:spcAft>
                <a:spcPts val="0"/>
              </a:spcAft>
              <a:buClr>
                <a:srgbClr val="0000CC"/>
              </a:buClr>
              <a:buFont typeface="Wingdings" pitchFamily="2" charset="2"/>
              <a:buNone/>
              <a:defRPr/>
            </a:pPr>
            <a:endParaRPr lang="zh-CN" altLang="en-US">
              <a:latin typeface="+mn-lt"/>
              <a:ea typeface="+mn-ea"/>
            </a:endParaRPr>
          </a:p>
        </p:txBody>
      </p:sp>
      <p:sp>
        <p:nvSpPr>
          <p:cNvPr id="13324" name="Arc 8"/>
          <p:cNvSpPr>
            <a:spLocks/>
          </p:cNvSpPr>
          <p:nvPr/>
        </p:nvSpPr>
        <p:spPr bwMode="gray">
          <a:xfrm rot="20601703" flipH="1">
            <a:off x="2000250" y="4579938"/>
            <a:ext cx="2701925" cy="1165225"/>
          </a:xfrm>
          <a:custGeom>
            <a:avLst/>
            <a:gdLst>
              <a:gd name="T0" fmla="*/ 2147483647 w 25114"/>
              <a:gd name="T1" fmla="*/ 2147483647 h 21600"/>
              <a:gd name="T2" fmla="*/ 0 w 25114"/>
              <a:gd name="T3" fmla="*/ 2147483647 h 21600"/>
              <a:gd name="T4" fmla="*/ 2147483647 w 25114"/>
              <a:gd name="T5" fmla="*/ 0 h 21600"/>
              <a:gd name="T6" fmla="*/ 0 60000 65536"/>
              <a:gd name="T7" fmla="*/ 0 60000 65536"/>
              <a:gd name="T8" fmla="*/ 0 60000 65536"/>
              <a:gd name="T9" fmla="*/ 0 w 25114"/>
              <a:gd name="T10" fmla="*/ 0 h 21600"/>
              <a:gd name="T11" fmla="*/ 25114 w 25114"/>
              <a:gd name="T12" fmla="*/ 21600 h 21600"/>
            </a:gdLst>
            <a:ahLst/>
            <a:cxnLst>
              <a:cxn ang="T6">
                <a:pos x="T0" y="T1"/>
              </a:cxn>
              <a:cxn ang="T7">
                <a:pos x="T2" y="T3"/>
              </a:cxn>
              <a:cxn ang="T8">
                <a:pos x="T4" y="T5"/>
              </a:cxn>
            </a:cxnLst>
            <a:rect l="T9" t="T10" r="T11" b="T12"/>
            <a:pathLst>
              <a:path w="25114" h="21600" fill="none" extrusionOk="0">
                <a:moveTo>
                  <a:pt x="25114" y="2497"/>
                </a:moveTo>
                <a:cubicBezTo>
                  <a:pt x="23846" y="13386"/>
                  <a:pt x="14622" y="21599"/>
                  <a:pt x="3659" y="21600"/>
                </a:cubicBezTo>
                <a:cubicBezTo>
                  <a:pt x="2432" y="21600"/>
                  <a:pt x="1208" y="21495"/>
                  <a:pt x="0" y="21287"/>
                </a:cubicBezTo>
              </a:path>
              <a:path w="25114" h="21600" stroke="0" extrusionOk="0">
                <a:moveTo>
                  <a:pt x="25114" y="2497"/>
                </a:moveTo>
                <a:cubicBezTo>
                  <a:pt x="23846" y="13386"/>
                  <a:pt x="14622" y="21599"/>
                  <a:pt x="3659" y="21600"/>
                </a:cubicBezTo>
                <a:cubicBezTo>
                  <a:pt x="2432" y="21600"/>
                  <a:pt x="1208" y="21495"/>
                  <a:pt x="0" y="21287"/>
                </a:cubicBezTo>
                <a:lnTo>
                  <a:pt x="3659" y="0"/>
                </a:lnTo>
                <a:lnTo>
                  <a:pt x="25114" y="2497"/>
                </a:lnTo>
                <a:close/>
              </a:path>
            </a:pathLst>
          </a:custGeom>
          <a:gradFill rotWithShape="1">
            <a:gsLst>
              <a:gs pos="0">
                <a:srgbClr val="D4964A"/>
              </a:gs>
              <a:gs pos="100000">
                <a:srgbClr val="815B2D"/>
              </a:gs>
            </a:gsLst>
            <a:lin ang="2700000" scaled="1"/>
          </a:gra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anchor="ctr"/>
          <a:lstStyle/>
          <a:p>
            <a:endParaRPr lang="zh-CN" altLang="en-US"/>
          </a:p>
        </p:txBody>
      </p:sp>
      <p:sp>
        <p:nvSpPr>
          <p:cNvPr id="13325" name="Arc 9"/>
          <p:cNvSpPr>
            <a:spLocks/>
          </p:cNvSpPr>
          <p:nvPr/>
        </p:nvSpPr>
        <p:spPr bwMode="gray">
          <a:xfrm rot="-998297">
            <a:off x="2728913" y="3171825"/>
            <a:ext cx="2622550" cy="1117600"/>
          </a:xfrm>
          <a:custGeom>
            <a:avLst/>
            <a:gdLst>
              <a:gd name="T0" fmla="*/ 0 w 23826"/>
              <a:gd name="T1" fmla="*/ 2147483647 h 21600"/>
              <a:gd name="T2" fmla="*/ 2147483647 w 23826"/>
              <a:gd name="T3" fmla="*/ 2147483647 h 21600"/>
              <a:gd name="T4" fmla="*/ 2147483647 w 23826"/>
              <a:gd name="T5" fmla="*/ 2147483647 h 21600"/>
              <a:gd name="T6" fmla="*/ 0 60000 65536"/>
              <a:gd name="T7" fmla="*/ 0 60000 65536"/>
              <a:gd name="T8" fmla="*/ 0 60000 65536"/>
              <a:gd name="T9" fmla="*/ 0 w 23826"/>
              <a:gd name="T10" fmla="*/ 0 h 21600"/>
              <a:gd name="T11" fmla="*/ 23826 w 23826"/>
              <a:gd name="T12" fmla="*/ 21600 h 21600"/>
            </a:gdLst>
            <a:ahLst/>
            <a:cxnLst>
              <a:cxn ang="T6">
                <a:pos x="T0" y="T1"/>
              </a:cxn>
              <a:cxn ang="T7">
                <a:pos x="T2" y="T3"/>
              </a:cxn>
              <a:cxn ang="T8">
                <a:pos x="T4" y="T5"/>
              </a:cxn>
            </a:cxnLst>
            <a:rect l="T9" t="T10" r="T11" b="T12"/>
            <a:pathLst>
              <a:path w="23826" h="21600" fill="none" extrusionOk="0">
                <a:moveTo>
                  <a:pt x="0" y="2683"/>
                </a:moveTo>
                <a:cubicBezTo>
                  <a:pt x="3193" y="923"/>
                  <a:pt x="6780" y="-1"/>
                  <a:pt x="10427" y="0"/>
                </a:cubicBezTo>
                <a:cubicBezTo>
                  <a:pt x="15290" y="0"/>
                  <a:pt x="20011" y="1641"/>
                  <a:pt x="23825" y="4658"/>
                </a:cubicBezTo>
              </a:path>
              <a:path w="23826" h="21600" stroke="0" extrusionOk="0">
                <a:moveTo>
                  <a:pt x="0" y="2683"/>
                </a:moveTo>
                <a:cubicBezTo>
                  <a:pt x="3193" y="923"/>
                  <a:pt x="6780" y="-1"/>
                  <a:pt x="10427" y="0"/>
                </a:cubicBezTo>
                <a:cubicBezTo>
                  <a:pt x="15290" y="0"/>
                  <a:pt x="20011" y="1641"/>
                  <a:pt x="23825" y="4658"/>
                </a:cubicBezTo>
                <a:lnTo>
                  <a:pt x="10427" y="21600"/>
                </a:lnTo>
                <a:lnTo>
                  <a:pt x="0" y="2683"/>
                </a:lnTo>
                <a:close/>
              </a:path>
            </a:pathLst>
          </a:custGeom>
          <a:solidFill>
            <a:schemeClr val="accent1"/>
          </a:soli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anchor="ctr"/>
          <a:lstStyle/>
          <a:p>
            <a:endParaRPr lang="zh-CN" altLang="en-US"/>
          </a:p>
        </p:txBody>
      </p:sp>
      <p:sp>
        <p:nvSpPr>
          <p:cNvPr id="11" name="Arc 10"/>
          <p:cNvSpPr>
            <a:spLocks/>
          </p:cNvSpPr>
          <p:nvPr/>
        </p:nvSpPr>
        <p:spPr bwMode="gray">
          <a:xfrm rot="20601703" flipH="1">
            <a:off x="1714500" y="3581400"/>
            <a:ext cx="2346325" cy="1665288"/>
          </a:xfrm>
          <a:custGeom>
            <a:avLst/>
            <a:gdLst>
              <a:gd name="G0" fmla="+- 0 0 0"/>
              <a:gd name="G1" fmla="+- 20162 0 0"/>
              <a:gd name="G2" fmla="+- 21600 0 0"/>
              <a:gd name="T0" fmla="*/ 7749 w 21600"/>
              <a:gd name="T1" fmla="*/ 0 h 30685"/>
              <a:gd name="T2" fmla="*/ 18863 w 21600"/>
              <a:gd name="T3" fmla="*/ 30685 h 30685"/>
              <a:gd name="T4" fmla="*/ 0 w 21600"/>
              <a:gd name="T5" fmla="*/ 20162 h 30685"/>
            </a:gdLst>
            <a:ahLst/>
            <a:cxnLst>
              <a:cxn ang="0">
                <a:pos x="T0" y="T1"/>
              </a:cxn>
              <a:cxn ang="0">
                <a:pos x="T2" y="T3"/>
              </a:cxn>
              <a:cxn ang="0">
                <a:pos x="T4" y="T5"/>
              </a:cxn>
            </a:cxnLst>
            <a:rect l="0" t="0" r="r" b="b"/>
            <a:pathLst>
              <a:path w="21600" h="30685" fill="none" extrusionOk="0">
                <a:moveTo>
                  <a:pt x="7749" y="-1"/>
                </a:moveTo>
                <a:cubicBezTo>
                  <a:pt x="16093" y="3206"/>
                  <a:pt x="21600" y="11222"/>
                  <a:pt x="21600" y="20162"/>
                </a:cubicBezTo>
                <a:cubicBezTo>
                  <a:pt x="21600" y="23845"/>
                  <a:pt x="20657" y="27468"/>
                  <a:pt x="18863" y="30685"/>
                </a:cubicBezTo>
              </a:path>
              <a:path w="21600" h="30685" stroke="0" extrusionOk="0">
                <a:moveTo>
                  <a:pt x="7749" y="-1"/>
                </a:moveTo>
                <a:cubicBezTo>
                  <a:pt x="16093" y="3206"/>
                  <a:pt x="21600" y="11222"/>
                  <a:pt x="21600" y="20162"/>
                </a:cubicBezTo>
                <a:cubicBezTo>
                  <a:pt x="21600" y="23845"/>
                  <a:pt x="20657" y="27468"/>
                  <a:pt x="18863" y="30685"/>
                </a:cubicBezTo>
                <a:lnTo>
                  <a:pt x="0" y="20162"/>
                </a:lnTo>
                <a:close/>
              </a:path>
            </a:pathLst>
          </a:custGeom>
          <a:gradFill rotWithShape="1">
            <a:gsLst>
              <a:gs pos="0">
                <a:schemeClr val="accent2"/>
              </a:gs>
              <a:gs pos="100000">
                <a:schemeClr val="accent2">
                  <a:gamma/>
                  <a:shade val="54510"/>
                  <a:invGamma/>
                </a:schemeClr>
              </a:gs>
            </a:gsLst>
            <a:lin ang="2700000" scaled="1"/>
          </a:gradFill>
          <a:ln w="12700">
            <a:noFill/>
            <a:round/>
            <a:headEnd type="none" w="sm" len="sm"/>
            <a:tailEnd type="none" w="sm" len="sm"/>
          </a:ln>
          <a:effectLst/>
        </p:spPr>
        <p:txBody>
          <a:bodyPr wrap="none" anchor="ctr"/>
          <a:lstStyle/>
          <a:p>
            <a:pPr eaLnBrk="0" fontAlgn="auto" hangingPunct="0">
              <a:lnSpc>
                <a:spcPct val="110000"/>
              </a:lnSpc>
              <a:spcBef>
                <a:spcPts val="0"/>
              </a:spcBef>
              <a:spcAft>
                <a:spcPts val="0"/>
              </a:spcAft>
              <a:buClr>
                <a:srgbClr val="0000CC"/>
              </a:buClr>
              <a:buFont typeface="Wingdings" pitchFamily="2" charset="2"/>
              <a:buNone/>
              <a:defRPr/>
            </a:pPr>
            <a:endParaRPr lang="zh-CN" altLang="en-US">
              <a:latin typeface="+mn-lt"/>
              <a:ea typeface="+mn-ea"/>
            </a:endParaRPr>
          </a:p>
        </p:txBody>
      </p:sp>
      <p:sp>
        <p:nvSpPr>
          <p:cNvPr id="12" name="Oval 11"/>
          <p:cNvSpPr>
            <a:spLocks noChangeArrowheads="1"/>
          </p:cNvSpPr>
          <p:nvPr/>
        </p:nvSpPr>
        <p:spPr bwMode="gray">
          <a:xfrm rot="20601703">
            <a:off x="3000375" y="3751263"/>
            <a:ext cx="2220913" cy="1057275"/>
          </a:xfrm>
          <a:prstGeom prst="ellipse">
            <a:avLst/>
          </a:prstGeom>
          <a:gradFill rotWithShape="0">
            <a:gsLst>
              <a:gs pos="0">
                <a:schemeClr val="bg2"/>
              </a:gs>
              <a:gs pos="50000">
                <a:schemeClr val="bg2">
                  <a:gamma/>
                  <a:tint val="24314"/>
                  <a:invGamma/>
                </a:schemeClr>
              </a:gs>
              <a:gs pos="100000">
                <a:schemeClr val="bg2"/>
              </a:gs>
            </a:gsLst>
            <a:lin ang="0" scaled="1"/>
          </a:gradFill>
          <a:ln w="12700">
            <a:noFill/>
            <a:round/>
            <a:headEnd type="none" w="sm" len="sm"/>
            <a:tailEnd type="none" w="sm" len="sm"/>
          </a:ln>
          <a:effectLst/>
        </p:spPr>
        <p:txBody>
          <a:bodyPr wrap="none" anchor="ctr"/>
          <a:lstStyle/>
          <a:p>
            <a:pPr eaLnBrk="0" hangingPunct="0">
              <a:lnSpc>
                <a:spcPct val="110000"/>
              </a:lnSpc>
              <a:spcBef>
                <a:spcPct val="30000"/>
              </a:spcBef>
              <a:buClr>
                <a:srgbClr val="0000CC"/>
              </a:buClr>
              <a:buFont typeface="Wingdings" pitchFamily="2" charset="2"/>
              <a:buNone/>
              <a:defRPr/>
            </a:pPr>
            <a:endParaRPr lang="zh-CN" altLang="en-US"/>
          </a:p>
        </p:txBody>
      </p:sp>
      <p:sp>
        <p:nvSpPr>
          <p:cNvPr id="13328" name="Text Box 12"/>
          <p:cNvSpPr txBox="1">
            <a:spLocks noChangeArrowheads="1"/>
          </p:cNvSpPr>
          <p:nvPr/>
        </p:nvSpPr>
        <p:spPr bwMode="gray">
          <a:xfrm>
            <a:off x="1847850" y="4330700"/>
            <a:ext cx="13271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a:lnSpc>
                <a:spcPct val="110000"/>
              </a:lnSpc>
              <a:spcBef>
                <a:spcPct val="30000"/>
              </a:spcBef>
              <a:buClr>
                <a:srgbClr val="0000CC"/>
              </a:buClr>
              <a:buFont typeface="Wingdings" pitchFamily="2" charset="2"/>
              <a:buNone/>
            </a:pPr>
            <a:r>
              <a:rPr lang="en-US" altLang="zh-CN" u="sng">
                <a:solidFill>
                  <a:srgbClr val="FFFFFF"/>
                </a:solidFill>
              </a:rPr>
              <a:t>5. </a:t>
            </a:r>
            <a:r>
              <a:rPr lang="zh-CN" altLang="en-US" u="sng">
                <a:solidFill>
                  <a:srgbClr val="FFFFFF"/>
                </a:solidFill>
              </a:rPr>
              <a:t>跨地域</a:t>
            </a:r>
            <a:endParaRPr lang="en-US" altLang="zh-CN" u="sng">
              <a:solidFill>
                <a:srgbClr val="FFFFFF"/>
              </a:solidFill>
            </a:endParaRPr>
          </a:p>
        </p:txBody>
      </p:sp>
      <p:sp>
        <p:nvSpPr>
          <p:cNvPr id="13329" name="Text Box 13"/>
          <p:cNvSpPr txBox="1">
            <a:spLocks noChangeArrowheads="1"/>
          </p:cNvSpPr>
          <p:nvPr/>
        </p:nvSpPr>
        <p:spPr bwMode="gray">
          <a:xfrm>
            <a:off x="3546475" y="3243263"/>
            <a:ext cx="13271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a:lnSpc>
                <a:spcPct val="110000"/>
              </a:lnSpc>
              <a:spcBef>
                <a:spcPct val="30000"/>
              </a:spcBef>
              <a:buClr>
                <a:srgbClr val="0000CC"/>
              </a:buClr>
              <a:buFont typeface="Wingdings" pitchFamily="2" charset="2"/>
              <a:buNone/>
            </a:pPr>
            <a:r>
              <a:rPr lang="en-US" altLang="zh-CN" u="sng">
                <a:solidFill>
                  <a:srgbClr val="FFFFFF"/>
                </a:solidFill>
              </a:rPr>
              <a:t>1. </a:t>
            </a:r>
            <a:r>
              <a:rPr lang="zh-CN" altLang="en-US" u="sng">
                <a:solidFill>
                  <a:srgbClr val="FFFFFF"/>
                </a:solidFill>
              </a:rPr>
              <a:t>大规模</a:t>
            </a:r>
            <a:endParaRPr lang="en-US" altLang="zh-CN" u="sng">
              <a:solidFill>
                <a:srgbClr val="FFFFFF"/>
              </a:solidFill>
            </a:endParaRPr>
          </a:p>
        </p:txBody>
      </p:sp>
      <p:sp>
        <p:nvSpPr>
          <p:cNvPr id="13330" name="Text Box 14"/>
          <p:cNvSpPr txBox="1">
            <a:spLocks noChangeArrowheads="1"/>
          </p:cNvSpPr>
          <p:nvPr/>
        </p:nvSpPr>
        <p:spPr bwMode="gray">
          <a:xfrm>
            <a:off x="4895850" y="3565525"/>
            <a:ext cx="15811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a:lnSpc>
                <a:spcPct val="110000"/>
              </a:lnSpc>
              <a:spcBef>
                <a:spcPct val="30000"/>
              </a:spcBef>
              <a:buClr>
                <a:srgbClr val="0000CC"/>
              </a:buClr>
              <a:buFont typeface="Wingdings" pitchFamily="2" charset="2"/>
              <a:buNone/>
            </a:pPr>
            <a:r>
              <a:rPr lang="en-US" altLang="zh-CN" u="sng">
                <a:solidFill>
                  <a:srgbClr val="FFFFFF"/>
                </a:solidFill>
              </a:rPr>
              <a:t>2. </a:t>
            </a:r>
            <a:r>
              <a:rPr lang="zh-CN" altLang="en-US" u="sng">
                <a:solidFill>
                  <a:srgbClr val="FFFFFF"/>
                </a:solidFill>
              </a:rPr>
              <a:t>平滑扩展</a:t>
            </a:r>
            <a:endParaRPr lang="en-US" altLang="zh-CN" u="sng">
              <a:solidFill>
                <a:srgbClr val="FFFFFF"/>
              </a:solidFill>
            </a:endParaRPr>
          </a:p>
        </p:txBody>
      </p:sp>
      <p:grpSp>
        <p:nvGrpSpPr>
          <p:cNvPr id="13331" name="Group 15"/>
          <p:cNvGrpSpPr>
            <a:grpSpLocks/>
          </p:cNvGrpSpPr>
          <p:nvPr/>
        </p:nvGrpSpPr>
        <p:grpSpPr bwMode="auto">
          <a:xfrm>
            <a:off x="4300538" y="3835400"/>
            <a:ext cx="2247900" cy="1892300"/>
            <a:chOff x="2981" y="1931"/>
            <a:chExt cx="1719" cy="1511"/>
          </a:xfrm>
        </p:grpSpPr>
        <p:sp>
          <p:nvSpPr>
            <p:cNvPr id="20" name="Freeform 16"/>
            <p:cNvSpPr>
              <a:spLocks/>
            </p:cNvSpPr>
            <p:nvPr/>
          </p:nvSpPr>
          <p:spPr bwMode="gray">
            <a:xfrm>
              <a:off x="3571" y="2316"/>
              <a:ext cx="1117" cy="1118"/>
            </a:xfrm>
            <a:custGeom>
              <a:avLst/>
              <a:gdLst/>
              <a:ahLst/>
              <a:cxnLst>
                <a:cxn ang="0">
                  <a:pos x="21" y="888"/>
                </a:cxn>
                <a:cxn ang="0">
                  <a:pos x="1117" y="0"/>
                </a:cxn>
                <a:cxn ang="0">
                  <a:pos x="1093" y="256"/>
                </a:cxn>
                <a:cxn ang="0">
                  <a:pos x="717" y="704"/>
                </a:cxn>
                <a:cxn ang="0">
                  <a:pos x="17" y="1119"/>
                </a:cxn>
                <a:cxn ang="0">
                  <a:pos x="21" y="888"/>
                </a:cxn>
              </a:cxnLst>
              <a:rect l="0" t="0" r="r" b="b"/>
              <a:pathLst>
                <a:path w="1117" h="1119">
                  <a:moveTo>
                    <a:pt x="21" y="888"/>
                  </a:moveTo>
                  <a:lnTo>
                    <a:pt x="1117" y="0"/>
                  </a:lnTo>
                  <a:lnTo>
                    <a:pt x="1093" y="256"/>
                  </a:lnTo>
                  <a:cubicBezTo>
                    <a:pt x="1026" y="373"/>
                    <a:pt x="896" y="560"/>
                    <a:pt x="717" y="704"/>
                  </a:cubicBezTo>
                  <a:cubicBezTo>
                    <a:pt x="538" y="848"/>
                    <a:pt x="133" y="1088"/>
                    <a:pt x="17" y="1119"/>
                  </a:cubicBezTo>
                  <a:cubicBezTo>
                    <a:pt x="0" y="1037"/>
                    <a:pt x="21" y="888"/>
                    <a:pt x="21" y="888"/>
                  </a:cubicBezTo>
                  <a:close/>
                </a:path>
              </a:pathLst>
            </a:custGeom>
            <a:gradFill rotWithShape="0">
              <a:gsLst>
                <a:gs pos="0">
                  <a:schemeClr val="folHlink">
                    <a:gamma/>
                    <a:shade val="60784"/>
                    <a:invGamma/>
                  </a:schemeClr>
                </a:gs>
                <a:gs pos="100000">
                  <a:schemeClr val="folHlink"/>
                </a:gs>
              </a:gsLst>
              <a:lin ang="0" scaled="1"/>
            </a:gradFill>
            <a:ln w="9525" cap="flat" cmpd="sng">
              <a:noFill/>
              <a:prstDash val="solid"/>
              <a:round/>
              <a:headEnd/>
              <a:tailEnd/>
            </a:ln>
            <a:effectLst/>
          </p:spPr>
          <p:txBody>
            <a:bodyPr>
              <a:spAutoFit/>
            </a:bodyPr>
            <a:lstStyle/>
            <a:p>
              <a:pPr eaLnBrk="0" fontAlgn="auto" hangingPunct="0">
                <a:lnSpc>
                  <a:spcPct val="110000"/>
                </a:lnSpc>
                <a:spcBef>
                  <a:spcPts val="0"/>
                </a:spcBef>
                <a:spcAft>
                  <a:spcPts val="0"/>
                </a:spcAft>
                <a:buClr>
                  <a:srgbClr val="0000CC"/>
                </a:buClr>
                <a:buFont typeface="Wingdings" pitchFamily="2" charset="2"/>
                <a:buNone/>
                <a:defRPr/>
              </a:pPr>
              <a:endParaRPr lang="zh-CN" altLang="en-US">
                <a:latin typeface="+mn-lt"/>
                <a:ea typeface="+mn-ea"/>
              </a:endParaRPr>
            </a:p>
          </p:txBody>
        </p:sp>
        <p:sp>
          <p:nvSpPr>
            <p:cNvPr id="21" name="Arc 17"/>
            <p:cNvSpPr>
              <a:spLocks/>
            </p:cNvSpPr>
            <p:nvPr/>
          </p:nvSpPr>
          <p:spPr bwMode="gray">
            <a:xfrm rot="-1060795">
              <a:off x="2981" y="1931"/>
              <a:ext cx="1719" cy="1171"/>
            </a:xfrm>
            <a:custGeom>
              <a:avLst/>
              <a:gdLst>
                <a:gd name="G0" fmla="+- 0 0 0"/>
                <a:gd name="G1" fmla="+- 0 0 0"/>
                <a:gd name="G2" fmla="+- 21600 0 0"/>
                <a:gd name="T0" fmla="*/ 18016 w 18016"/>
                <a:gd name="T1" fmla="*/ 11915 h 21282"/>
                <a:gd name="T2" fmla="*/ 3695 w 18016"/>
                <a:gd name="T3" fmla="*/ 21282 h 21282"/>
                <a:gd name="T4" fmla="*/ 0 w 18016"/>
                <a:gd name="T5" fmla="*/ 0 h 21282"/>
              </a:gdLst>
              <a:ahLst/>
              <a:cxnLst>
                <a:cxn ang="0">
                  <a:pos x="T0" y="T1"/>
                </a:cxn>
                <a:cxn ang="0">
                  <a:pos x="T2" y="T3"/>
                </a:cxn>
                <a:cxn ang="0">
                  <a:pos x="T4" y="T5"/>
                </a:cxn>
              </a:cxnLst>
              <a:rect l="0" t="0" r="r" b="b"/>
              <a:pathLst>
                <a:path w="18016" h="21282" fill="none" extrusionOk="0">
                  <a:moveTo>
                    <a:pt x="18016" y="11915"/>
                  </a:moveTo>
                  <a:cubicBezTo>
                    <a:pt x="14735" y="16875"/>
                    <a:pt x="9554" y="20264"/>
                    <a:pt x="3694" y="21281"/>
                  </a:cubicBezTo>
                </a:path>
                <a:path w="18016" h="21282" stroke="0" extrusionOk="0">
                  <a:moveTo>
                    <a:pt x="18016" y="11915"/>
                  </a:moveTo>
                  <a:cubicBezTo>
                    <a:pt x="14735" y="16875"/>
                    <a:pt x="9554" y="20264"/>
                    <a:pt x="3694" y="21281"/>
                  </a:cubicBezTo>
                  <a:lnTo>
                    <a:pt x="0" y="0"/>
                  </a:lnTo>
                  <a:close/>
                </a:path>
              </a:pathLst>
            </a:custGeom>
            <a:gradFill rotWithShape="1">
              <a:gsLst>
                <a:gs pos="0">
                  <a:schemeClr val="folHlink"/>
                </a:gs>
                <a:gs pos="100000">
                  <a:schemeClr val="folHlink">
                    <a:gamma/>
                    <a:shade val="46275"/>
                    <a:invGamma/>
                  </a:schemeClr>
                </a:gs>
              </a:gsLst>
              <a:lin ang="0" scaled="1"/>
            </a:gradFill>
            <a:ln w="12700">
              <a:noFill/>
              <a:round/>
              <a:headEnd type="none" w="sm" len="sm"/>
              <a:tailEnd type="none" w="sm" len="sm"/>
            </a:ln>
            <a:effectLst/>
          </p:spPr>
          <p:txBody>
            <a:bodyPr wrap="none" anchor="ctr"/>
            <a:lstStyle/>
            <a:p>
              <a:pPr eaLnBrk="0" fontAlgn="auto" hangingPunct="0">
                <a:lnSpc>
                  <a:spcPct val="110000"/>
                </a:lnSpc>
                <a:spcBef>
                  <a:spcPts val="0"/>
                </a:spcBef>
                <a:spcAft>
                  <a:spcPts val="0"/>
                </a:spcAft>
                <a:buClr>
                  <a:srgbClr val="0000CC"/>
                </a:buClr>
                <a:buFont typeface="Wingdings" pitchFamily="2" charset="2"/>
                <a:buNone/>
                <a:defRPr/>
              </a:pPr>
              <a:endParaRPr lang="zh-CN" altLang="en-US">
                <a:latin typeface="+mn-lt"/>
                <a:ea typeface="+mn-ea"/>
              </a:endParaRPr>
            </a:p>
          </p:txBody>
        </p:sp>
        <p:sp>
          <p:nvSpPr>
            <p:cNvPr id="22" name="Freeform 18"/>
            <p:cNvSpPr>
              <a:spLocks/>
            </p:cNvSpPr>
            <p:nvPr/>
          </p:nvSpPr>
          <p:spPr bwMode="gray">
            <a:xfrm>
              <a:off x="3026" y="2616"/>
              <a:ext cx="581" cy="826"/>
            </a:xfrm>
            <a:custGeom>
              <a:avLst/>
              <a:gdLst/>
              <a:ahLst/>
              <a:cxnLst>
                <a:cxn ang="0">
                  <a:pos x="582" y="572"/>
                </a:cxn>
                <a:cxn ang="0">
                  <a:pos x="562" y="826"/>
                </a:cxn>
                <a:cxn ang="0">
                  <a:pos x="0" y="42"/>
                </a:cxn>
                <a:cxn ang="0">
                  <a:pos x="90" y="0"/>
                </a:cxn>
                <a:cxn ang="0">
                  <a:pos x="582" y="572"/>
                </a:cxn>
              </a:cxnLst>
              <a:rect l="0" t="0" r="r" b="b"/>
              <a:pathLst>
                <a:path w="582" h="826">
                  <a:moveTo>
                    <a:pt x="582" y="572"/>
                  </a:moveTo>
                  <a:lnTo>
                    <a:pt x="562" y="826"/>
                  </a:lnTo>
                  <a:lnTo>
                    <a:pt x="0" y="42"/>
                  </a:lnTo>
                  <a:lnTo>
                    <a:pt x="90" y="0"/>
                  </a:lnTo>
                  <a:lnTo>
                    <a:pt x="582" y="572"/>
                  </a:lnTo>
                  <a:close/>
                </a:path>
              </a:pathLst>
            </a:custGeom>
            <a:gradFill rotWithShape="1">
              <a:gsLst>
                <a:gs pos="0">
                  <a:schemeClr val="folHlink"/>
                </a:gs>
                <a:gs pos="100000">
                  <a:schemeClr val="folHlink">
                    <a:gamma/>
                    <a:shade val="46275"/>
                    <a:invGamma/>
                  </a:schemeClr>
                </a:gs>
              </a:gsLst>
              <a:lin ang="0" scaled="1"/>
            </a:gradFill>
            <a:ln w="9525" cap="flat" cmpd="sng">
              <a:noFill/>
              <a:prstDash val="solid"/>
              <a:round/>
              <a:headEnd/>
              <a:tailEnd/>
            </a:ln>
            <a:effectLst/>
          </p:spPr>
          <p:txBody>
            <a:bodyPr>
              <a:spAutoFit/>
            </a:bodyPr>
            <a:lstStyle/>
            <a:p>
              <a:pPr eaLnBrk="0" fontAlgn="auto" hangingPunct="0">
                <a:lnSpc>
                  <a:spcPct val="110000"/>
                </a:lnSpc>
                <a:spcBef>
                  <a:spcPts val="0"/>
                </a:spcBef>
                <a:spcAft>
                  <a:spcPts val="0"/>
                </a:spcAft>
                <a:buClr>
                  <a:srgbClr val="0000CC"/>
                </a:buClr>
                <a:buFont typeface="Wingdings" pitchFamily="2" charset="2"/>
                <a:buNone/>
                <a:defRPr/>
              </a:pPr>
              <a:endParaRPr lang="zh-CN" altLang="en-US">
                <a:latin typeface="+mn-lt"/>
                <a:ea typeface="+mn-ea"/>
              </a:endParaRPr>
            </a:p>
          </p:txBody>
        </p:sp>
        <p:sp>
          <p:nvSpPr>
            <p:cNvPr id="13344" name="Text Box 19"/>
            <p:cNvSpPr txBox="1">
              <a:spLocks noChangeArrowheads="1"/>
            </p:cNvSpPr>
            <p:nvPr/>
          </p:nvSpPr>
          <p:spPr bwMode="gray">
            <a:xfrm>
              <a:off x="3272" y="2484"/>
              <a:ext cx="1209" cy="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a:lnSpc>
                  <a:spcPct val="110000"/>
                </a:lnSpc>
                <a:spcBef>
                  <a:spcPct val="30000"/>
                </a:spcBef>
                <a:buClr>
                  <a:srgbClr val="0000CC"/>
                </a:buClr>
                <a:buFont typeface="Wingdings" pitchFamily="2" charset="2"/>
                <a:buNone/>
              </a:pPr>
              <a:r>
                <a:rPr lang="en-US" altLang="zh-CN" u="sng">
                  <a:solidFill>
                    <a:srgbClr val="FFFFFF"/>
                  </a:solidFill>
                </a:rPr>
                <a:t>3. </a:t>
              </a:r>
              <a:r>
                <a:rPr lang="zh-CN" altLang="en-US" u="sng">
                  <a:solidFill>
                    <a:srgbClr val="FFFFFF"/>
                  </a:solidFill>
                </a:rPr>
                <a:t>资源共享</a:t>
              </a:r>
              <a:endParaRPr lang="en-US" altLang="zh-CN" u="sng">
                <a:solidFill>
                  <a:srgbClr val="FFFFFF"/>
                </a:solidFill>
              </a:endParaRPr>
            </a:p>
          </p:txBody>
        </p:sp>
      </p:grpSp>
      <p:sp>
        <p:nvSpPr>
          <p:cNvPr id="13332" name="Text Box 20"/>
          <p:cNvSpPr txBox="1">
            <a:spLocks noChangeArrowheads="1"/>
          </p:cNvSpPr>
          <p:nvPr/>
        </p:nvSpPr>
        <p:spPr bwMode="gray">
          <a:xfrm>
            <a:off x="2895600" y="5068888"/>
            <a:ext cx="15811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a:lnSpc>
                <a:spcPct val="110000"/>
              </a:lnSpc>
              <a:spcBef>
                <a:spcPct val="30000"/>
              </a:spcBef>
              <a:buClr>
                <a:srgbClr val="0000CC"/>
              </a:buClr>
              <a:buFont typeface="Wingdings" pitchFamily="2" charset="2"/>
              <a:buNone/>
            </a:pPr>
            <a:r>
              <a:rPr lang="en-US" altLang="zh-CN" u="sng">
                <a:solidFill>
                  <a:srgbClr val="FFFFFF"/>
                </a:solidFill>
              </a:rPr>
              <a:t>4. </a:t>
            </a:r>
            <a:r>
              <a:rPr lang="zh-CN" altLang="en-US" u="sng">
                <a:solidFill>
                  <a:srgbClr val="FFFFFF"/>
                </a:solidFill>
              </a:rPr>
              <a:t>动态分配</a:t>
            </a:r>
            <a:endParaRPr lang="en-US" altLang="zh-CN" u="sng">
              <a:solidFill>
                <a:srgbClr val="FFFFFF"/>
              </a:solidFill>
            </a:endParaRPr>
          </a:p>
        </p:txBody>
      </p:sp>
      <p:sp>
        <p:nvSpPr>
          <p:cNvPr id="13333" name="Freeform 21"/>
          <p:cNvSpPr>
            <a:spLocks/>
          </p:cNvSpPr>
          <p:nvPr/>
        </p:nvSpPr>
        <p:spPr bwMode="gray">
          <a:xfrm>
            <a:off x="4230688" y="4746625"/>
            <a:ext cx="690562" cy="873125"/>
          </a:xfrm>
          <a:custGeom>
            <a:avLst/>
            <a:gdLst>
              <a:gd name="T0" fmla="*/ 0 w 528"/>
              <a:gd name="T1" fmla="*/ 2147483647 h 698"/>
              <a:gd name="T2" fmla="*/ 2147483647 w 528"/>
              <a:gd name="T3" fmla="*/ 2147483647 h 698"/>
              <a:gd name="T4" fmla="*/ 2147483647 w 528"/>
              <a:gd name="T5" fmla="*/ 2147483647 h 698"/>
              <a:gd name="T6" fmla="*/ 2147483647 w 528"/>
              <a:gd name="T7" fmla="*/ 2147483647 h 698"/>
              <a:gd name="T8" fmla="*/ 2147483647 w 528"/>
              <a:gd name="T9" fmla="*/ 2147483647 h 698"/>
              <a:gd name="T10" fmla="*/ 2147483647 w 528"/>
              <a:gd name="T11" fmla="*/ 0 h 698"/>
              <a:gd name="T12" fmla="*/ 0 w 528"/>
              <a:gd name="T13" fmla="*/ 2147483647 h 698"/>
              <a:gd name="T14" fmla="*/ 0 60000 65536"/>
              <a:gd name="T15" fmla="*/ 0 60000 65536"/>
              <a:gd name="T16" fmla="*/ 0 60000 65536"/>
              <a:gd name="T17" fmla="*/ 0 60000 65536"/>
              <a:gd name="T18" fmla="*/ 0 60000 65536"/>
              <a:gd name="T19" fmla="*/ 0 60000 65536"/>
              <a:gd name="T20" fmla="*/ 0 60000 65536"/>
              <a:gd name="T21" fmla="*/ 0 w 528"/>
              <a:gd name="T22" fmla="*/ 0 h 698"/>
              <a:gd name="T23" fmla="*/ 528 w 528"/>
              <a:gd name="T24" fmla="*/ 698 h 69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8" h="698">
                <a:moveTo>
                  <a:pt x="0" y="34"/>
                </a:moveTo>
                <a:lnTo>
                  <a:pt x="248" y="546"/>
                </a:lnTo>
                <a:lnTo>
                  <a:pt x="256" y="698"/>
                </a:lnTo>
                <a:lnTo>
                  <a:pt x="435" y="642"/>
                </a:lnTo>
                <a:lnTo>
                  <a:pt x="528" y="594"/>
                </a:lnTo>
                <a:lnTo>
                  <a:pt x="119" y="0"/>
                </a:lnTo>
                <a:lnTo>
                  <a:pt x="0" y="34"/>
                </a:lnTo>
                <a:close/>
              </a:path>
            </a:pathLst>
          </a:custGeom>
          <a:solidFill>
            <a:srgbClr val="676767">
              <a:alpha val="49019"/>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zh-CN" altLang="en-US"/>
          </a:p>
        </p:txBody>
      </p:sp>
      <p:sp>
        <p:nvSpPr>
          <p:cNvPr id="13334" name="Oval 22"/>
          <p:cNvSpPr>
            <a:spLocks noChangeArrowheads="1"/>
          </p:cNvSpPr>
          <p:nvPr/>
        </p:nvSpPr>
        <p:spPr bwMode="gray">
          <a:xfrm rot="-998297">
            <a:off x="3086100" y="3949700"/>
            <a:ext cx="2130425" cy="877888"/>
          </a:xfrm>
          <a:prstGeom prst="ellipse">
            <a:avLst/>
          </a:prstGeom>
          <a:solidFill>
            <a:srgbClr val="FFFFFF"/>
          </a:solidFill>
          <a:ln>
            <a:noFill/>
          </a:ln>
          <a:extLst>
            <a:ext uri="{91240B29-F687-4F45-9708-019B960494DF}">
              <a14:hiddenLine xmlns:a14="http://schemas.microsoft.com/office/drawing/2010/main" w="12700">
                <a:solidFill>
                  <a:srgbClr val="000000"/>
                </a:solidFill>
                <a:round/>
                <a:headEnd type="none" w="sm" len="sm"/>
                <a:tailEnd type="none" w="sm" len="sm"/>
              </a14:hiddenLine>
            </a:ext>
          </a:extLst>
        </p:spPr>
        <p:txBody>
          <a:bodyPr wrap="none" anchor="ctr"/>
          <a:lstStyle/>
          <a:p>
            <a:pPr eaLnBrk="0" hangingPunct="0">
              <a:lnSpc>
                <a:spcPct val="110000"/>
              </a:lnSpc>
              <a:spcBef>
                <a:spcPct val="30000"/>
              </a:spcBef>
              <a:buClr>
                <a:srgbClr val="0000CC"/>
              </a:buClr>
              <a:buFont typeface="Wingdings" pitchFamily="2" charset="2"/>
              <a:buNone/>
            </a:pPr>
            <a:endParaRPr lang="zh-CN" altLang="en-US"/>
          </a:p>
        </p:txBody>
      </p:sp>
      <p:cxnSp>
        <p:nvCxnSpPr>
          <p:cNvPr id="13335" name="Straight Connector 33"/>
          <p:cNvCxnSpPr>
            <a:cxnSpLocks noChangeShapeType="1"/>
            <a:stCxn id="13332" idx="1"/>
            <a:endCxn id="13318" idx="3"/>
          </p:cNvCxnSpPr>
          <p:nvPr/>
        </p:nvCxnSpPr>
        <p:spPr bwMode="auto">
          <a:xfrm rot="10800000" flipV="1">
            <a:off x="1785938" y="5267325"/>
            <a:ext cx="1109662" cy="88900"/>
          </a:xfrm>
          <a:prstGeom prst="line">
            <a:avLst/>
          </a:prstGeom>
          <a:noFill/>
          <a:ln w="9525" algn="ctr">
            <a:solidFill>
              <a:srgbClr val="0070C0"/>
            </a:solidFill>
            <a:round/>
            <a:headEnd/>
            <a:tailEnd/>
          </a:ln>
          <a:extLst>
            <a:ext uri="{909E8E84-426E-40DD-AFC4-6F175D3DCCD1}">
              <a14:hiddenFill xmlns:a14="http://schemas.microsoft.com/office/drawing/2010/main">
                <a:noFill/>
              </a14:hiddenFill>
            </a:ext>
          </a:extLst>
        </p:spPr>
      </p:cxnSp>
      <p:cxnSp>
        <p:nvCxnSpPr>
          <p:cNvPr id="13336" name="Straight Connector 34"/>
          <p:cNvCxnSpPr>
            <a:cxnSpLocks noChangeShapeType="1"/>
            <a:stCxn id="13328" idx="0"/>
            <a:endCxn id="13319" idx="3"/>
          </p:cNvCxnSpPr>
          <p:nvPr/>
        </p:nvCxnSpPr>
        <p:spPr bwMode="auto">
          <a:xfrm rot="16200000" flipV="1">
            <a:off x="1554957" y="3374231"/>
            <a:ext cx="1187450" cy="725487"/>
          </a:xfrm>
          <a:prstGeom prst="line">
            <a:avLst/>
          </a:prstGeom>
          <a:noFill/>
          <a:ln w="9525" algn="ctr">
            <a:solidFill>
              <a:srgbClr val="0070C0"/>
            </a:solidFill>
            <a:round/>
            <a:headEnd/>
            <a:tailEnd/>
          </a:ln>
          <a:extLst>
            <a:ext uri="{909E8E84-426E-40DD-AFC4-6F175D3DCCD1}">
              <a14:hiddenFill xmlns:a14="http://schemas.microsoft.com/office/drawing/2010/main">
                <a:noFill/>
              </a14:hiddenFill>
            </a:ext>
          </a:extLst>
        </p:spPr>
      </p:cxnSp>
      <p:cxnSp>
        <p:nvCxnSpPr>
          <p:cNvPr id="13337" name="Straight Connector 37"/>
          <p:cNvCxnSpPr>
            <a:cxnSpLocks noChangeShapeType="1"/>
            <a:stCxn id="13329" idx="0"/>
            <a:endCxn id="13320" idx="2"/>
          </p:cNvCxnSpPr>
          <p:nvPr/>
        </p:nvCxnSpPr>
        <p:spPr bwMode="auto">
          <a:xfrm flipH="1" flipV="1">
            <a:off x="4179888" y="2794000"/>
            <a:ext cx="30162" cy="449263"/>
          </a:xfrm>
          <a:prstGeom prst="line">
            <a:avLst/>
          </a:prstGeom>
          <a:noFill/>
          <a:ln w="9525" algn="ctr">
            <a:solidFill>
              <a:srgbClr val="0070C0"/>
            </a:solidFill>
            <a:round/>
            <a:headEnd/>
            <a:tailEnd/>
          </a:ln>
          <a:extLst>
            <a:ext uri="{909E8E84-426E-40DD-AFC4-6F175D3DCCD1}">
              <a14:hiddenFill xmlns:a14="http://schemas.microsoft.com/office/drawing/2010/main">
                <a:noFill/>
              </a14:hiddenFill>
            </a:ext>
          </a:extLst>
        </p:spPr>
      </p:cxnSp>
      <p:cxnSp>
        <p:nvCxnSpPr>
          <p:cNvPr id="43" name="Straight Connector 42"/>
          <p:cNvCxnSpPr>
            <a:stCxn id="13330" idx="0"/>
          </p:cNvCxnSpPr>
          <p:nvPr/>
        </p:nvCxnSpPr>
        <p:spPr>
          <a:xfrm rot="5400000" flipH="1" flipV="1">
            <a:off x="5908675" y="2759075"/>
            <a:ext cx="584200" cy="102870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endCxn id="13317" idx="1"/>
          </p:cNvCxnSpPr>
          <p:nvPr/>
        </p:nvCxnSpPr>
        <p:spPr>
          <a:xfrm>
            <a:off x="5934075" y="4687888"/>
            <a:ext cx="781050" cy="239712"/>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33" name="Rounded Rectangle 31"/>
          <p:cNvSpPr/>
          <p:nvPr/>
        </p:nvSpPr>
        <p:spPr>
          <a:xfrm>
            <a:off x="784225" y="1143000"/>
            <a:ext cx="7459663" cy="863600"/>
          </a:xfrm>
          <a:prstGeom prst="roundRect">
            <a:avLst/>
          </a:prstGeom>
          <a:solidFill>
            <a:schemeClr val="accent2">
              <a:lumMod val="20000"/>
              <a:lumOff val="80000"/>
            </a:schemeClr>
          </a:solidFill>
        </p:spPr>
        <p:style>
          <a:lnRef idx="1">
            <a:schemeClr val="accent1"/>
          </a:lnRef>
          <a:fillRef idx="2">
            <a:schemeClr val="accent1"/>
          </a:fillRef>
          <a:effectRef idx="1">
            <a:schemeClr val="accent1"/>
          </a:effectRef>
          <a:fontRef idx="minor">
            <a:schemeClr val="dk1"/>
          </a:fontRef>
        </p:style>
        <p:txBody>
          <a:bodyPr anchor="ctr"/>
          <a:lstStyle/>
          <a:p>
            <a:pPr algn="just" eaLnBrk="0" hangingPunct="0">
              <a:lnSpc>
                <a:spcPct val="110000"/>
              </a:lnSpc>
              <a:spcBef>
                <a:spcPct val="30000"/>
              </a:spcBef>
              <a:buClr>
                <a:srgbClr val="0000CC"/>
              </a:buClr>
              <a:buFont typeface="Wingdings" pitchFamily="2" charset="2"/>
              <a:buNone/>
              <a:defRPr/>
            </a:pPr>
            <a:r>
              <a:rPr lang="zh-CN" altLang="en-US" sz="1800" dirty="0">
                <a:solidFill>
                  <a:srgbClr val="000000"/>
                </a:solidFill>
                <a:latin typeface="微软雅黑" pitchFamily="34" charset="-122"/>
                <a:ea typeface="微软雅黑" pitchFamily="34" charset="-122"/>
              </a:rPr>
              <a:t>      云计算（</a:t>
            </a:r>
            <a:r>
              <a:rPr lang="en-US" altLang="zh-CN" sz="1800" dirty="0">
                <a:solidFill>
                  <a:srgbClr val="000000"/>
                </a:solidFill>
                <a:latin typeface="微软雅黑" pitchFamily="34" charset="-122"/>
                <a:ea typeface="微软雅黑" pitchFamily="34" charset="-122"/>
              </a:rPr>
              <a:t>Cloud Computing</a:t>
            </a:r>
            <a:r>
              <a:rPr lang="zh-CN" altLang="en-US" sz="1800" dirty="0">
                <a:solidFill>
                  <a:srgbClr val="000000"/>
                </a:solidFill>
                <a:latin typeface="微软雅黑" pitchFamily="34" charset="-122"/>
                <a:ea typeface="微软雅黑" pitchFamily="34" charset="-122"/>
              </a:rPr>
              <a:t>）：一种利用大规模低成本运算单元通过</a:t>
            </a:r>
            <a:r>
              <a:rPr lang="en-US" altLang="zh-CN" sz="1800" dirty="0">
                <a:solidFill>
                  <a:srgbClr val="000000"/>
                </a:solidFill>
                <a:latin typeface="微软雅黑" pitchFamily="34" charset="-122"/>
                <a:ea typeface="微软雅黑" pitchFamily="34" charset="-122"/>
              </a:rPr>
              <a:t>IP</a:t>
            </a:r>
            <a:r>
              <a:rPr lang="zh-CN" altLang="en-US" sz="1800" dirty="0">
                <a:solidFill>
                  <a:srgbClr val="000000"/>
                </a:solidFill>
                <a:latin typeface="微软雅黑" pitchFamily="34" charset="-122"/>
                <a:ea typeface="微软雅黑" pitchFamily="34" charset="-122"/>
              </a:rPr>
              <a:t>网络连接，以提供各种计算和存储服务的</a:t>
            </a:r>
            <a:r>
              <a:rPr lang="en-US" altLang="zh-CN" sz="1800" dirty="0">
                <a:solidFill>
                  <a:srgbClr val="000000"/>
                </a:solidFill>
                <a:latin typeface="微软雅黑" pitchFamily="34" charset="-122"/>
                <a:ea typeface="微软雅黑" pitchFamily="34" charset="-122"/>
              </a:rPr>
              <a:t>IT</a:t>
            </a:r>
            <a:r>
              <a:rPr lang="zh-CN" altLang="en-US" sz="1800" dirty="0">
                <a:solidFill>
                  <a:srgbClr val="000000"/>
                </a:solidFill>
                <a:latin typeface="微软雅黑" pitchFamily="34" charset="-122"/>
                <a:ea typeface="微软雅黑" pitchFamily="34" charset="-122"/>
              </a:rPr>
              <a:t>技术。</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标题 1"/>
          <p:cNvSpPr>
            <a:spLocks noGrp="1"/>
          </p:cNvSpPr>
          <p:nvPr>
            <p:ph type="title"/>
          </p:nvPr>
        </p:nvSpPr>
        <p:spPr>
          <a:xfrm>
            <a:off x="0" y="15875"/>
            <a:ext cx="8201025" cy="460375"/>
          </a:xfrm>
        </p:spPr>
        <p:txBody>
          <a:bodyPr/>
          <a:lstStyle/>
          <a:p>
            <a:r>
              <a:rPr lang="zh-CN" altLang="en-US" smtClean="0"/>
              <a:t>目录</a:t>
            </a:r>
          </a:p>
        </p:txBody>
      </p:sp>
      <p:sp>
        <p:nvSpPr>
          <p:cNvPr id="14339" name="内容占位符 2"/>
          <p:cNvSpPr>
            <a:spLocks noGrp="1"/>
          </p:cNvSpPr>
          <p:nvPr>
            <p:ph idx="1"/>
          </p:nvPr>
        </p:nvSpPr>
        <p:spPr>
          <a:xfrm>
            <a:off x="1692275" y="1989138"/>
            <a:ext cx="5410200" cy="2782887"/>
          </a:xfrm>
        </p:spPr>
        <p:txBody>
          <a:bodyPr/>
          <a:lstStyle/>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基本概念</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solidFill>
                  <a:srgbClr val="FF0000"/>
                </a:solidFill>
                <a:latin typeface="Cambria" pitchFamily="18" charset="0"/>
                <a:ea typeface="华文细黑" pitchFamily="2" charset="-122"/>
              </a:rPr>
              <a:t>云计算市场及产业发展状况</a:t>
            </a:r>
            <a:endParaRPr lang="en-US" altLang="zh-CN" sz="2400" smtClean="0">
              <a:solidFill>
                <a:srgbClr val="FF0000"/>
              </a:solidFill>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标准建设</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关键技术</a:t>
            </a:r>
            <a:endParaRPr lang="en-US" altLang="zh-CN" sz="2400" smtClean="0">
              <a:latin typeface="Cambria" pitchFamily="18" charset="0"/>
              <a:ea typeface="华文细黑" pitchFamily="2" charset="-122"/>
            </a:endParaRPr>
          </a:p>
          <a:p>
            <a:pPr marL="342900" indent="-342900">
              <a:lnSpc>
                <a:spcPct val="115000"/>
              </a:lnSpc>
              <a:spcBef>
                <a:spcPct val="10000"/>
              </a:spcBef>
              <a:spcAft>
                <a:spcPct val="10000"/>
              </a:spcAft>
              <a:buFontTx/>
              <a:buBlip>
                <a:blip r:embed="rId2"/>
              </a:buBlip>
            </a:pPr>
            <a:r>
              <a:rPr lang="zh-CN" altLang="en-US" sz="2400" smtClean="0">
                <a:latin typeface="Cambria" pitchFamily="18" charset="0"/>
                <a:ea typeface="华文细黑" pitchFamily="2" charset="-122"/>
              </a:rPr>
              <a:t>云计算在运营商应用现状介绍</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标题 1"/>
          <p:cNvSpPr>
            <a:spLocks noGrp="1"/>
          </p:cNvSpPr>
          <p:nvPr>
            <p:ph type="title"/>
          </p:nvPr>
        </p:nvSpPr>
        <p:spPr>
          <a:xfrm>
            <a:off x="0" y="15875"/>
            <a:ext cx="8201025" cy="460375"/>
          </a:xfrm>
        </p:spPr>
        <p:txBody>
          <a:bodyPr/>
          <a:lstStyle/>
          <a:p>
            <a:r>
              <a:rPr lang="zh-CN" altLang="en-US" smtClean="0"/>
              <a:t>云计算产业架构</a:t>
            </a:r>
          </a:p>
        </p:txBody>
      </p:sp>
      <p:pic>
        <p:nvPicPr>
          <p:cNvPr id="75778" name="Picture 2"/>
          <p:cNvPicPr>
            <a:picLocks noChangeAspect="1" noChangeArrowheads="1"/>
          </p:cNvPicPr>
          <p:nvPr/>
        </p:nvPicPr>
        <p:blipFill>
          <a:blip r:embed="rId3"/>
          <a:srcRect/>
          <a:stretch>
            <a:fillRect/>
          </a:stretch>
        </p:blipFill>
        <p:spPr bwMode="auto">
          <a:xfrm>
            <a:off x="1203325" y="765175"/>
            <a:ext cx="6791325" cy="5267325"/>
          </a:xfrm>
          <a:prstGeom prst="rect">
            <a:avLst/>
          </a:prstGeom>
          <a:noFill/>
          <a:ln>
            <a:noFill/>
          </a:ln>
          <a:effectLst>
            <a:prstShdw prst="shdw17" dist="17961" dir="2700000">
              <a:schemeClr val="accent1">
                <a:gamma/>
                <a:shade val="60000"/>
                <a:invGamma/>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364" name="内容占位符 2"/>
          <p:cNvSpPr>
            <a:spLocks noGrp="1"/>
          </p:cNvSpPr>
          <p:nvPr>
            <p:ph idx="1"/>
          </p:nvPr>
        </p:nvSpPr>
        <p:spPr>
          <a:xfrm>
            <a:off x="519113" y="6076950"/>
            <a:ext cx="8229600" cy="736600"/>
          </a:xfrm>
        </p:spPr>
        <p:txBody>
          <a:bodyPr/>
          <a:lstStyle/>
          <a:p>
            <a:r>
              <a:rPr lang="zh-CN" altLang="en-US" b="0" smtClean="0"/>
              <a:t>云计算产业由云计算服务业、云计算制造业、基础设施服务业以及支持产业等组成。</a:t>
            </a:r>
            <a:endParaRPr lang="zh-CN" altLang="en-US" smtClean="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标题 1"/>
          <p:cNvSpPr>
            <a:spLocks noGrp="1"/>
          </p:cNvSpPr>
          <p:nvPr>
            <p:ph type="title"/>
          </p:nvPr>
        </p:nvSpPr>
        <p:spPr>
          <a:xfrm>
            <a:off x="0" y="15875"/>
            <a:ext cx="8201025" cy="460375"/>
          </a:xfrm>
        </p:spPr>
        <p:txBody>
          <a:bodyPr/>
          <a:lstStyle/>
          <a:p>
            <a:r>
              <a:rPr lang="zh-CN" altLang="en-US" smtClean="0"/>
              <a:t>云计算产业发展现状</a:t>
            </a:r>
          </a:p>
        </p:txBody>
      </p:sp>
      <p:pic>
        <p:nvPicPr>
          <p:cNvPr id="76802" name="Picture 2"/>
          <p:cNvPicPr>
            <a:picLocks noChangeAspect="1" noChangeArrowheads="1"/>
          </p:cNvPicPr>
          <p:nvPr/>
        </p:nvPicPr>
        <p:blipFill>
          <a:blip r:embed="rId3"/>
          <a:srcRect/>
          <a:stretch>
            <a:fillRect/>
          </a:stretch>
        </p:blipFill>
        <p:spPr bwMode="auto">
          <a:xfrm>
            <a:off x="252413" y="1484313"/>
            <a:ext cx="8648700" cy="4581525"/>
          </a:xfrm>
          <a:prstGeom prst="rect">
            <a:avLst/>
          </a:prstGeom>
          <a:noFill/>
          <a:ln>
            <a:noFill/>
          </a:ln>
          <a:effectLst>
            <a:prstShdw prst="shdw17" dist="17961" dir="2700000">
              <a:schemeClr val="accent1">
                <a:gamma/>
                <a:shade val="60000"/>
                <a:invGamma/>
                <a:alpha val="50000"/>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custDataLst>
              <p:tags r:id="rId2"/>
            </p:custDataLst>
          </p:nvPr>
        </p:nvPicPr>
        <p:blipFill>
          <a:blip r:embed="rId57">
            <a:extLst>
              <a:ext uri="{28A0092B-C50C-407E-A947-70E740481C1C}">
                <a14:useLocalDpi xmlns:a14="http://schemas.microsoft.com/office/drawing/2010/main" val="0"/>
              </a:ext>
            </a:extLst>
          </a:blip>
          <a:srcRect/>
          <a:stretch>
            <a:fillRect/>
          </a:stretch>
        </p:blipFill>
        <p:spPr bwMode="auto">
          <a:xfrm>
            <a:off x="7829550" y="4325938"/>
            <a:ext cx="863600"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7411" name="Rectangle 3"/>
          <p:cNvSpPr>
            <a:spLocks noGrp="1" noChangeArrowheads="1"/>
          </p:cNvSpPr>
          <p:nvPr>
            <p:ph type="title"/>
            <p:custDataLst>
              <p:tags r:id="rId3"/>
            </p:custDataLst>
          </p:nvPr>
        </p:nvSpPr>
        <p:spPr>
          <a:xfrm>
            <a:off x="0" y="15875"/>
            <a:ext cx="8201025" cy="460375"/>
          </a:xfrm>
        </p:spPr>
        <p:txBody>
          <a:bodyPr/>
          <a:lstStyle/>
          <a:p>
            <a:r>
              <a:rPr lang="zh-CN" altLang="en-US" smtClean="0"/>
              <a:t> 云计算市场概述</a:t>
            </a:r>
          </a:p>
        </p:txBody>
      </p:sp>
      <p:sp>
        <p:nvSpPr>
          <p:cNvPr id="890884" name="Rectangle 4"/>
          <p:cNvSpPr>
            <a:spLocks noChangeArrowheads="1"/>
          </p:cNvSpPr>
          <p:nvPr>
            <p:custDataLst>
              <p:tags r:id="rId4"/>
            </p:custDataLst>
          </p:nvPr>
        </p:nvSpPr>
        <p:spPr bwMode="auto">
          <a:xfrm>
            <a:off x="25400" y="836613"/>
            <a:ext cx="9144000" cy="695325"/>
          </a:xfrm>
          <a:prstGeom prst="rect">
            <a:avLst/>
          </a:prstGeom>
          <a:noFill/>
          <a:ln w="9525" algn="ctr">
            <a:noFill/>
            <a:miter lim="800000"/>
            <a:headEnd/>
            <a:tailEnd/>
          </a:ln>
          <a:effectLst>
            <a:prstShdw prst="shdw17" dist="17961" dir="2700000">
              <a:schemeClr val="accent1">
                <a:gamma/>
                <a:shade val="60000"/>
                <a:invGamma/>
                <a:alpha val="50000"/>
              </a:schemeClr>
            </a:prstShdw>
          </a:effectLst>
        </p:spPr>
        <p:txBody>
          <a:bodyPr lIns="0" rIns="0">
            <a:spAutoFit/>
          </a:bodyPr>
          <a:lstStyle/>
          <a:p>
            <a:pPr marL="266700" indent="-266700" eaLnBrk="0" hangingPunct="0">
              <a:lnSpc>
                <a:spcPct val="110000"/>
              </a:lnSpc>
              <a:spcBef>
                <a:spcPct val="50000"/>
              </a:spcBef>
              <a:buClr>
                <a:srgbClr val="0000CC"/>
              </a:buClr>
              <a:buFont typeface="Wingdings" pitchFamily="2" charset="2"/>
              <a:buBlip>
                <a:blip r:embed="rId58"/>
              </a:buBlip>
              <a:defRPr/>
            </a:pPr>
            <a:r>
              <a:rPr lang="zh-CN" altLang="en-US" sz="1800" dirty="0">
                <a:cs typeface="Tahoma" pitchFamily="34" charset="0"/>
              </a:rPr>
              <a:t>云计算应用</a:t>
            </a:r>
            <a:r>
              <a:rPr lang="en-US" altLang="zh-CN" sz="1800" dirty="0">
                <a:cs typeface="Tahoma" pitchFamily="34" charset="0"/>
              </a:rPr>
              <a:t>(</a:t>
            </a:r>
            <a:r>
              <a:rPr lang="zh-CN" altLang="en-US" sz="1800" dirty="0">
                <a:cs typeface="Tahoma" pitchFamily="34" charset="0"/>
              </a:rPr>
              <a:t>服务</a:t>
            </a:r>
            <a:r>
              <a:rPr lang="en-US" altLang="zh-CN" sz="1800" dirty="0">
                <a:cs typeface="Tahoma" pitchFamily="34" charset="0"/>
              </a:rPr>
              <a:t>)</a:t>
            </a:r>
            <a:r>
              <a:rPr lang="zh-CN" altLang="en-US" sz="1800" dirty="0">
                <a:cs typeface="Tahoma" pitchFamily="34" charset="0"/>
              </a:rPr>
              <a:t>可分为</a:t>
            </a:r>
            <a:r>
              <a:rPr lang="en-US" altLang="zh-CN" sz="1800" dirty="0" err="1">
                <a:solidFill>
                  <a:srgbClr val="000000"/>
                </a:solidFill>
                <a:cs typeface="Tahoma" pitchFamily="34" charset="0"/>
              </a:rPr>
              <a:t>IaaS</a:t>
            </a:r>
            <a:r>
              <a:rPr lang="zh-CN" altLang="en-US" sz="1800" dirty="0">
                <a:solidFill>
                  <a:srgbClr val="000000"/>
                </a:solidFill>
                <a:cs typeface="Tahoma" pitchFamily="34" charset="0"/>
              </a:rPr>
              <a:t>、</a:t>
            </a:r>
            <a:r>
              <a:rPr lang="en-US" altLang="zh-CN" sz="1800" dirty="0" err="1">
                <a:solidFill>
                  <a:srgbClr val="000000"/>
                </a:solidFill>
                <a:cs typeface="Tahoma" pitchFamily="34" charset="0"/>
              </a:rPr>
              <a:t>PaaS</a:t>
            </a:r>
            <a:r>
              <a:rPr lang="zh-CN" altLang="en-US" sz="1800" dirty="0">
                <a:solidFill>
                  <a:srgbClr val="000000"/>
                </a:solidFill>
                <a:cs typeface="Tahoma" pitchFamily="34" charset="0"/>
              </a:rPr>
              <a:t>、</a:t>
            </a:r>
            <a:r>
              <a:rPr lang="en-US" altLang="zh-CN" sz="1800" dirty="0" err="1">
                <a:solidFill>
                  <a:srgbClr val="000000"/>
                </a:solidFill>
                <a:cs typeface="Tahoma" pitchFamily="34" charset="0"/>
              </a:rPr>
              <a:t>SaaS</a:t>
            </a:r>
            <a:r>
              <a:rPr lang="zh-CN" altLang="en-US" sz="1800" dirty="0">
                <a:solidFill>
                  <a:srgbClr val="000000"/>
                </a:solidFill>
                <a:cs typeface="Tahoma" pitchFamily="34" charset="0"/>
              </a:rPr>
              <a:t>三类，国外云计算发展已初具规模，</a:t>
            </a:r>
            <a:r>
              <a:rPr lang="en-US" altLang="zh-CN" sz="1800" dirty="0">
                <a:solidFill>
                  <a:srgbClr val="000000"/>
                </a:solidFill>
                <a:cs typeface="Tahoma" pitchFamily="34" charset="0"/>
              </a:rPr>
              <a:t>2010</a:t>
            </a:r>
            <a:r>
              <a:rPr lang="zh-CN" altLang="en-US" sz="1800" dirty="0">
                <a:solidFill>
                  <a:srgbClr val="000000"/>
                </a:solidFill>
                <a:cs typeface="Tahoma" pitchFamily="34" charset="0"/>
              </a:rPr>
              <a:t>年市场规模为</a:t>
            </a:r>
            <a:r>
              <a:rPr lang="en-US" altLang="zh-CN" sz="1800" dirty="0">
                <a:solidFill>
                  <a:srgbClr val="000000"/>
                </a:solidFill>
                <a:cs typeface="Tahoma" pitchFamily="34" charset="0"/>
              </a:rPr>
              <a:t>220</a:t>
            </a:r>
            <a:r>
              <a:rPr lang="zh-CN" altLang="en-US" sz="1800" dirty="0">
                <a:solidFill>
                  <a:srgbClr val="000000"/>
                </a:solidFill>
                <a:cs typeface="Tahoma" pitchFamily="34" charset="0"/>
              </a:rPr>
              <a:t>亿美元，预计</a:t>
            </a:r>
            <a:r>
              <a:rPr lang="en-US" altLang="zh-CN" sz="1800" dirty="0">
                <a:solidFill>
                  <a:srgbClr val="000000"/>
                </a:solidFill>
                <a:cs typeface="Tahoma" pitchFamily="34" charset="0"/>
              </a:rPr>
              <a:t>2014</a:t>
            </a:r>
            <a:r>
              <a:rPr lang="zh-CN" altLang="en-US" sz="1800" dirty="0">
                <a:solidFill>
                  <a:srgbClr val="000000"/>
                </a:solidFill>
                <a:cs typeface="Tahoma" pitchFamily="34" charset="0"/>
              </a:rPr>
              <a:t>年将达到</a:t>
            </a:r>
            <a:r>
              <a:rPr lang="en-US" altLang="zh-CN" sz="1800" dirty="0">
                <a:solidFill>
                  <a:srgbClr val="000000"/>
                </a:solidFill>
                <a:cs typeface="Tahoma" pitchFamily="34" charset="0"/>
              </a:rPr>
              <a:t>550</a:t>
            </a:r>
            <a:r>
              <a:rPr lang="zh-CN" altLang="en-US" sz="1800" dirty="0">
                <a:solidFill>
                  <a:srgbClr val="000000"/>
                </a:solidFill>
                <a:cs typeface="Tahoma" pitchFamily="34" charset="0"/>
              </a:rPr>
              <a:t>亿美元，平均年增长率达到</a:t>
            </a:r>
            <a:r>
              <a:rPr lang="en-US" altLang="zh-CN" sz="1800" dirty="0">
                <a:solidFill>
                  <a:srgbClr val="000000"/>
                </a:solidFill>
                <a:cs typeface="Tahoma" pitchFamily="34" charset="0"/>
              </a:rPr>
              <a:t>22%</a:t>
            </a:r>
            <a:r>
              <a:rPr lang="zh-CN" altLang="en-US" sz="1800" dirty="0">
                <a:solidFill>
                  <a:srgbClr val="000000"/>
                </a:solidFill>
                <a:cs typeface="Tahoma" pitchFamily="34" charset="0"/>
              </a:rPr>
              <a:t>。</a:t>
            </a:r>
          </a:p>
        </p:txBody>
      </p:sp>
      <p:graphicFrame>
        <p:nvGraphicFramePr>
          <p:cNvPr id="17413" name="Object 2"/>
          <p:cNvGraphicFramePr>
            <a:graphicFrameLocks noChangeAspect="1"/>
          </p:cNvGraphicFramePr>
          <p:nvPr>
            <p:custDataLst>
              <p:tags r:id="rId5"/>
            </p:custDataLst>
          </p:nvPr>
        </p:nvGraphicFramePr>
        <p:xfrm>
          <a:off x="958850" y="2505075"/>
          <a:ext cx="292100" cy="461963"/>
        </p:xfrm>
        <a:graphic>
          <a:graphicData uri="http://schemas.openxmlformats.org/presentationml/2006/ole">
            <mc:AlternateContent xmlns:mc="http://schemas.openxmlformats.org/markup-compatibility/2006">
              <mc:Choice xmlns:v="urn:schemas-microsoft-com:vml" Requires="v">
                <p:oleObj spid="_x0000_s17477" name="CorelDRAW" r:id="rId59" imgW="1103760" imgH="1987200" progId="">
                  <p:embed/>
                </p:oleObj>
              </mc:Choice>
              <mc:Fallback>
                <p:oleObj name="CorelDRAW" r:id="rId59" imgW="1103760" imgH="1987200" progId="">
                  <p:embed/>
                  <p:pic>
                    <p:nvPicPr>
                      <p:cNvPr id="0" name="Object 2"/>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958850" y="2505075"/>
                        <a:ext cx="292100"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7414" name="Picture 5"/>
          <p:cNvPicPr>
            <a:picLocks noChangeArrowheads="1"/>
          </p:cNvPicPr>
          <p:nvPr>
            <p:custDataLst>
              <p:tags r:id="rId6"/>
            </p:custDataLst>
          </p:nvPr>
        </p:nvPicPr>
        <p:blipFill>
          <a:blip r:embed="rId61">
            <a:extLst>
              <a:ext uri="{28A0092B-C50C-407E-A947-70E740481C1C}">
                <a14:useLocalDpi xmlns:a14="http://schemas.microsoft.com/office/drawing/2010/main" val="0"/>
              </a:ext>
            </a:extLst>
          </a:blip>
          <a:srcRect/>
          <a:stretch>
            <a:fillRect/>
          </a:stretch>
        </p:blipFill>
        <p:spPr bwMode="auto">
          <a:xfrm>
            <a:off x="628650" y="2851150"/>
            <a:ext cx="198438"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 name="AutoShape 6"/>
          <p:cNvSpPr>
            <a:spLocks noChangeArrowheads="1"/>
          </p:cNvSpPr>
          <p:nvPr>
            <p:custDataLst>
              <p:tags r:id="rId7"/>
            </p:custDataLst>
          </p:nvPr>
        </p:nvSpPr>
        <p:spPr bwMode="auto">
          <a:xfrm>
            <a:off x="1420813" y="2505075"/>
            <a:ext cx="328612" cy="461963"/>
          </a:xfrm>
          <a:prstGeom prst="can">
            <a:avLst>
              <a:gd name="adj" fmla="val 80000"/>
            </a:avLst>
          </a:prstGeom>
          <a:gradFill rotWithShape="0">
            <a:gsLst>
              <a:gs pos="0">
                <a:schemeClr val="bg2"/>
              </a:gs>
              <a:gs pos="50000">
                <a:schemeClr val="folHlink"/>
              </a:gs>
              <a:gs pos="100000">
                <a:schemeClr val="bg2"/>
              </a:gs>
            </a:gsLst>
            <a:lin ang="0" scaled="1"/>
          </a:gradFill>
          <a:ln w="9525">
            <a:solidFill>
              <a:srgbClr val="CC9900"/>
            </a:solidFill>
            <a:round/>
            <a:headEnd/>
            <a:tailEnd/>
          </a:ln>
          <a:effectLst/>
        </p:spPr>
        <p:txBody>
          <a:bodyPr wrap="none" anchor="ctr"/>
          <a:lstStyle/>
          <a:p>
            <a:pPr>
              <a:defRPr/>
            </a:pPr>
            <a:endParaRPr lang="zh-CN" altLang="en-US" b="0">
              <a:ea typeface="华文中宋" pitchFamily="2" charset="-122"/>
              <a:cs typeface="Tahoma" pitchFamily="34" charset="0"/>
            </a:endParaRPr>
          </a:p>
        </p:txBody>
      </p:sp>
      <p:graphicFrame>
        <p:nvGraphicFramePr>
          <p:cNvPr id="17416" name="Object 3"/>
          <p:cNvGraphicFramePr>
            <a:graphicFrameLocks noChangeAspect="1"/>
          </p:cNvGraphicFramePr>
          <p:nvPr>
            <p:custDataLst>
              <p:tags r:id="rId8"/>
            </p:custDataLst>
          </p:nvPr>
        </p:nvGraphicFramePr>
        <p:xfrm>
          <a:off x="1485900" y="3025775"/>
          <a:ext cx="528638" cy="304800"/>
        </p:xfrm>
        <a:graphic>
          <a:graphicData uri="http://schemas.openxmlformats.org/presentationml/2006/ole">
            <mc:AlternateContent xmlns:mc="http://schemas.openxmlformats.org/markup-compatibility/2006">
              <mc:Choice xmlns:v="urn:schemas-microsoft-com:vml" Requires="v">
                <p:oleObj spid="_x0000_s17478" name="CorelDRAW" r:id="rId62" imgW="3108960" imgH="2048040" progId="">
                  <p:embed/>
                </p:oleObj>
              </mc:Choice>
              <mc:Fallback>
                <p:oleObj name="CorelDRAW" r:id="rId62" imgW="3108960" imgH="2048040" progId="">
                  <p:embed/>
                  <p:pic>
                    <p:nvPicPr>
                      <p:cNvPr id="0" name="Object 3"/>
                      <p:cNvPicPr>
                        <a:picLocks noChangeAspect="1" noChangeArrowheads="1"/>
                      </p:cNvPicPr>
                      <p:nvPr/>
                    </p:nvPicPr>
                    <p:blipFill>
                      <a:blip r:embed="rId63">
                        <a:extLst>
                          <a:ext uri="{28A0092B-C50C-407E-A947-70E740481C1C}">
                            <a14:useLocalDpi xmlns:a14="http://schemas.microsoft.com/office/drawing/2010/main" val="0"/>
                          </a:ext>
                        </a:extLst>
                      </a:blip>
                      <a:srcRect/>
                      <a:stretch>
                        <a:fillRect/>
                      </a:stretch>
                    </p:blipFill>
                    <p:spPr bwMode="auto">
                      <a:xfrm>
                        <a:off x="1485900" y="3025775"/>
                        <a:ext cx="5286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17417" name="Picture 8"/>
          <p:cNvPicPr>
            <a:picLocks noChangeAspect="1" noChangeArrowheads="1"/>
          </p:cNvPicPr>
          <p:nvPr>
            <p:custDataLst>
              <p:tags r:id="rId9"/>
            </p:custDataLst>
          </p:nvPr>
        </p:nvPicPr>
        <p:blipFill>
          <a:blip r:embed="rId64">
            <a:extLst>
              <a:ext uri="{28A0092B-C50C-407E-A947-70E740481C1C}">
                <a14:useLocalDpi xmlns:a14="http://schemas.microsoft.com/office/drawing/2010/main" val="0"/>
              </a:ext>
            </a:extLst>
          </a:blip>
          <a:srcRect/>
          <a:stretch>
            <a:fillRect/>
          </a:stretch>
        </p:blipFill>
        <p:spPr bwMode="auto">
          <a:xfrm>
            <a:off x="1025525" y="2967038"/>
            <a:ext cx="377825"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418" name="Group 9"/>
          <p:cNvGrpSpPr>
            <a:grpSpLocks/>
          </p:cNvGrpSpPr>
          <p:nvPr>
            <p:custDataLst>
              <p:tags r:id="rId10"/>
            </p:custDataLst>
          </p:nvPr>
        </p:nvGrpSpPr>
        <p:grpSpPr bwMode="auto">
          <a:xfrm>
            <a:off x="390525" y="2028825"/>
            <a:ext cx="1846263" cy="280988"/>
            <a:chOff x="3600" y="240"/>
            <a:chExt cx="927" cy="697"/>
          </a:xfrm>
        </p:grpSpPr>
        <p:sp>
          <p:nvSpPr>
            <p:cNvPr id="17472" name="Rectangle 10"/>
            <p:cNvSpPr>
              <a:spLocks noChangeArrowheads="1"/>
            </p:cNvSpPr>
            <p:nvPr/>
          </p:nvSpPr>
          <p:spPr bwMode="auto">
            <a:xfrm>
              <a:off x="3612" y="252"/>
              <a:ext cx="915" cy="685"/>
            </a:xfrm>
            <a:prstGeom prst="rect">
              <a:avLst/>
            </a:prstGeom>
            <a:gradFill rotWithShape="0">
              <a:gsLst>
                <a:gs pos="0">
                  <a:srgbClr val="DDDDDD"/>
                </a:gs>
                <a:gs pos="100000">
                  <a:srgbClr val="DEDEDE"/>
                </a:gs>
              </a:gsLst>
              <a:lin ang="5400000" scaled="1"/>
            </a:gradFill>
            <a:ln>
              <a:noFill/>
            </a:ln>
            <a:extLst>
              <a:ext uri="{91240B29-F687-4F45-9708-019B960494DF}">
                <a14:hiddenLine xmlns:a14="http://schemas.microsoft.com/office/drawing/2010/main" w="28575">
                  <a:solidFill>
                    <a:srgbClr val="000000"/>
                  </a:solidFill>
                  <a:miter lim="800000"/>
                  <a:headEnd/>
                  <a:tailEnd/>
                </a14:hiddenLine>
              </a:ext>
            </a:extLst>
          </p:spPr>
          <p:txBody>
            <a:bodyPr anchor="ctr">
              <a:spAutoFit/>
            </a:bodyPr>
            <a:lstStyle/>
            <a:p>
              <a:endParaRPr lang="zh-CN" altLang="en-US" b="0">
                <a:ea typeface="华文中宋" pitchFamily="2" charset="-122"/>
              </a:endParaRPr>
            </a:p>
          </p:txBody>
        </p:sp>
        <p:sp>
          <p:nvSpPr>
            <p:cNvPr id="17473" name="Rectangle 11"/>
            <p:cNvSpPr>
              <a:spLocks noChangeArrowheads="1"/>
            </p:cNvSpPr>
            <p:nvPr/>
          </p:nvSpPr>
          <p:spPr bwMode="auto">
            <a:xfrm>
              <a:off x="3600" y="240"/>
              <a:ext cx="96" cy="573"/>
            </a:xfrm>
            <a:prstGeom prst="rect">
              <a:avLst/>
            </a:prstGeom>
            <a:gradFill rotWithShape="0">
              <a:gsLst>
                <a:gs pos="0">
                  <a:srgbClr val="F8F8F8"/>
                </a:gs>
                <a:gs pos="100000">
                  <a:srgbClr val="DDDDDD"/>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b="0">
                <a:ea typeface="华文中宋" pitchFamily="2" charset="-122"/>
              </a:endParaRPr>
            </a:p>
          </p:txBody>
        </p:sp>
        <p:sp>
          <p:nvSpPr>
            <p:cNvPr id="17474" name="Rectangle 12"/>
            <p:cNvSpPr>
              <a:spLocks noChangeArrowheads="1"/>
            </p:cNvSpPr>
            <p:nvPr/>
          </p:nvSpPr>
          <p:spPr bwMode="auto">
            <a:xfrm>
              <a:off x="4464" y="240"/>
              <a:ext cx="63" cy="573"/>
            </a:xfrm>
            <a:prstGeom prst="rect">
              <a:avLst/>
            </a:prstGeom>
            <a:gradFill rotWithShape="0">
              <a:gsLst>
                <a:gs pos="0">
                  <a:srgbClr val="DDDDDD"/>
                </a:gs>
                <a:gs pos="100000">
                  <a:srgbClr val="666666"/>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b="0">
                <a:ea typeface="华文中宋" pitchFamily="2" charset="-122"/>
              </a:endParaRPr>
            </a:p>
          </p:txBody>
        </p:sp>
        <p:sp>
          <p:nvSpPr>
            <p:cNvPr id="17475" name="AutoShape 13"/>
            <p:cNvSpPr>
              <a:spLocks noChangeArrowheads="1"/>
            </p:cNvSpPr>
            <p:nvPr/>
          </p:nvSpPr>
          <p:spPr bwMode="auto">
            <a:xfrm>
              <a:off x="3600" y="240"/>
              <a:ext cx="927" cy="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423 w 21600"/>
                <a:gd name="T13" fmla="*/ 2250 h 21600"/>
                <a:gd name="T14" fmla="*/ 19177 w 21600"/>
                <a:gd name="T15" fmla="*/ 19350 h 21600"/>
              </a:gdLst>
              <a:ahLst/>
              <a:cxnLst>
                <a:cxn ang="T8">
                  <a:pos x="T0" y="T1"/>
                </a:cxn>
                <a:cxn ang="T9">
                  <a:pos x="T2" y="T3"/>
                </a:cxn>
                <a:cxn ang="T10">
                  <a:pos x="T4" y="T5"/>
                </a:cxn>
                <a:cxn ang="T11">
                  <a:pos x="T6" y="T7"/>
                </a:cxn>
              </a:cxnLst>
              <a:rect l="T12" t="T13" r="T14" b="T15"/>
              <a:pathLst>
                <a:path w="21600" h="21600">
                  <a:moveTo>
                    <a:pt x="0" y="0"/>
                  </a:moveTo>
                  <a:lnTo>
                    <a:pt x="1228" y="21600"/>
                  </a:lnTo>
                  <a:lnTo>
                    <a:pt x="20372" y="21600"/>
                  </a:lnTo>
                  <a:lnTo>
                    <a:pt x="21600" y="0"/>
                  </a:lnTo>
                  <a:lnTo>
                    <a:pt x="0" y="0"/>
                  </a:lnTo>
                  <a:close/>
                </a:path>
              </a:pathLst>
            </a:custGeom>
            <a:gradFill rotWithShape="0">
              <a:gsLst>
                <a:gs pos="0">
                  <a:srgbClr val="FBFBFB"/>
                </a:gs>
                <a:gs pos="100000">
                  <a:srgbClr val="DDDDDD"/>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zh-CN" altLang="en-US"/>
            </a:p>
          </p:txBody>
        </p:sp>
        <p:sp>
          <p:nvSpPr>
            <p:cNvPr id="17476" name="AutoShape 14"/>
            <p:cNvSpPr>
              <a:spLocks noChangeArrowheads="1"/>
            </p:cNvSpPr>
            <p:nvPr/>
          </p:nvSpPr>
          <p:spPr bwMode="auto">
            <a:xfrm flipV="1">
              <a:off x="3600" y="768"/>
              <a:ext cx="922" cy="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226 w 21600"/>
                <a:gd name="T13" fmla="*/ 2250 h 21600"/>
                <a:gd name="T14" fmla="*/ 19374 w 21600"/>
                <a:gd name="T15" fmla="*/ 19350 h 21600"/>
              </a:gdLst>
              <a:ahLst/>
              <a:cxnLst>
                <a:cxn ang="T8">
                  <a:pos x="T0" y="T1"/>
                </a:cxn>
                <a:cxn ang="T9">
                  <a:pos x="T2" y="T3"/>
                </a:cxn>
                <a:cxn ang="T10">
                  <a:pos x="T4" y="T5"/>
                </a:cxn>
                <a:cxn ang="T11">
                  <a:pos x="T6" y="T7"/>
                </a:cxn>
              </a:cxnLst>
              <a:rect l="T12" t="T13" r="T14" b="T15"/>
              <a:pathLst>
                <a:path w="21600" h="21600">
                  <a:moveTo>
                    <a:pt x="0" y="0"/>
                  </a:moveTo>
                  <a:lnTo>
                    <a:pt x="867" y="21600"/>
                  </a:lnTo>
                  <a:lnTo>
                    <a:pt x="20733" y="21600"/>
                  </a:lnTo>
                  <a:lnTo>
                    <a:pt x="21600" y="0"/>
                  </a:lnTo>
                  <a:lnTo>
                    <a:pt x="0" y="0"/>
                  </a:lnTo>
                  <a:close/>
                </a:path>
              </a:pathLst>
            </a:custGeom>
            <a:gradFill rotWithShape="0">
              <a:gsLst>
                <a:gs pos="0">
                  <a:srgbClr val="DDDDDD"/>
                </a:gs>
                <a:gs pos="100000">
                  <a:srgbClr val="5E5E5E"/>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endParaRPr lang="zh-CN" altLang="en-US"/>
            </a:p>
          </p:txBody>
        </p:sp>
      </p:grpSp>
      <p:sp>
        <p:nvSpPr>
          <p:cNvPr id="17419" name="Text Box 15"/>
          <p:cNvSpPr txBox="1">
            <a:spLocks noChangeArrowheads="1"/>
          </p:cNvSpPr>
          <p:nvPr>
            <p:custDataLst>
              <p:tags r:id="rId11"/>
            </p:custDataLst>
          </p:nvPr>
        </p:nvSpPr>
        <p:spPr bwMode="auto">
          <a:xfrm>
            <a:off x="323850" y="2027238"/>
            <a:ext cx="1979613"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r>
              <a:rPr lang="zh-CN" altLang="en-US">
                <a:ea typeface="华文中宋" pitchFamily="2" charset="-122"/>
              </a:rPr>
              <a:t>操作系统</a:t>
            </a:r>
            <a:r>
              <a:rPr lang="en-US" altLang="zh-CN">
                <a:ea typeface="华文中宋" pitchFamily="2" charset="-122"/>
              </a:rPr>
              <a:t>+</a:t>
            </a:r>
            <a:r>
              <a:rPr lang="zh-CN" altLang="en-US">
                <a:ea typeface="华文中宋" pitchFamily="2" charset="-122"/>
              </a:rPr>
              <a:t>应用服务引擎</a:t>
            </a:r>
          </a:p>
        </p:txBody>
      </p:sp>
      <p:grpSp>
        <p:nvGrpSpPr>
          <p:cNvPr id="17420" name="Group 16"/>
          <p:cNvGrpSpPr>
            <a:grpSpLocks/>
          </p:cNvGrpSpPr>
          <p:nvPr>
            <p:custDataLst>
              <p:tags r:id="rId12"/>
            </p:custDataLst>
          </p:nvPr>
        </p:nvGrpSpPr>
        <p:grpSpPr bwMode="auto">
          <a:xfrm>
            <a:off x="390525" y="1727200"/>
            <a:ext cx="1846263" cy="239713"/>
            <a:chOff x="3501" y="912"/>
            <a:chExt cx="877" cy="583"/>
          </a:xfrm>
        </p:grpSpPr>
        <p:sp>
          <p:nvSpPr>
            <p:cNvPr id="17467" name="Rectangle 17"/>
            <p:cNvSpPr>
              <a:spLocks noChangeArrowheads="1"/>
            </p:cNvSpPr>
            <p:nvPr/>
          </p:nvSpPr>
          <p:spPr bwMode="auto">
            <a:xfrm>
              <a:off x="3504" y="917"/>
              <a:ext cx="864" cy="573"/>
            </a:xfrm>
            <a:prstGeom prst="rect">
              <a:avLst/>
            </a:prstGeom>
            <a:solidFill>
              <a:srgbClr val="D6DBFE"/>
            </a:solidFill>
            <a:ln>
              <a:noFill/>
            </a:ln>
            <a:extLst>
              <a:ext uri="{91240B29-F687-4F45-9708-019B960494DF}">
                <a14:hiddenLine xmlns:a14="http://schemas.microsoft.com/office/drawing/2010/main" w="28575">
                  <a:solidFill>
                    <a:srgbClr val="000000"/>
                  </a:solidFill>
                  <a:miter lim="800000"/>
                  <a:headEnd/>
                  <a:tailEnd/>
                </a14:hiddenLine>
              </a:ext>
            </a:extLst>
          </p:spPr>
          <p:txBody>
            <a:bodyPr anchor="ctr"/>
            <a:lstStyle/>
            <a:p>
              <a:endParaRPr lang="zh-CN" altLang="en-US" b="0">
                <a:ea typeface="华文中宋" pitchFamily="2" charset="-122"/>
              </a:endParaRPr>
            </a:p>
          </p:txBody>
        </p:sp>
        <p:sp>
          <p:nvSpPr>
            <p:cNvPr id="17468" name="Rectangle 18"/>
            <p:cNvSpPr>
              <a:spLocks noChangeArrowheads="1"/>
            </p:cNvSpPr>
            <p:nvPr/>
          </p:nvSpPr>
          <p:spPr bwMode="auto">
            <a:xfrm>
              <a:off x="3504" y="912"/>
              <a:ext cx="47" cy="581"/>
            </a:xfrm>
            <a:prstGeom prst="rect">
              <a:avLst/>
            </a:prstGeom>
            <a:gradFill rotWithShape="0">
              <a:gsLst>
                <a:gs pos="0">
                  <a:schemeClr val="bg1"/>
                </a:gs>
                <a:gs pos="100000">
                  <a:srgbClr val="D6DBFE"/>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zh-CN" altLang="en-US" b="0">
                <a:ea typeface="华文中宋" pitchFamily="2" charset="-122"/>
              </a:endParaRPr>
            </a:p>
          </p:txBody>
        </p:sp>
        <p:sp>
          <p:nvSpPr>
            <p:cNvPr id="3" name="Rectangle 19"/>
            <p:cNvSpPr>
              <a:spLocks noChangeArrowheads="1"/>
            </p:cNvSpPr>
            <p:nvPr/>
          </p:nvSpPr>
          <p:spPr bwMode="auto">
            <a:xfrm>
              <a:off x="4326" y="912"/>
              <a:ext cx="47" cy="579"/>
            </a:xfrm>
            <a:prstGeom prst="rect">
              <a:avLst/>
            </a:prstGeom>
            <a:gradFill rotWithShape="0">
              <a:gsLst>
                <a:gs pos="0">
                  <a:schemeClr val="hlink"/>
                </a:gs>
                <a:gs pos="100000">
                  <a:schemeClr val="hlink">
                    <a:gamma/>
                    <a:shade val="46275"/>
                    <a:invGamma/>
                  </a:schemeClr>
                </a:gs>
              </a:gsLst>
              <a:lin ang="0" scaled="1"/>
            </a:gradFill>
            <a:ln w="9525">
              <a:noFill/>
              <a:miter lim="800000"/>
              <a:headEnd/>
              <a:tailEnd/>
            </a:ln>
            <a:effectLst/>
          </p:spPr>
          <p:txBody>
            <a:bodyPr anchor="ctr"/>
            <a:lstStyle/>
            <a:p>
              <a:pPr>
                <a:defRPr/>
              </a:pPr>
              <a:endParaRPr lang="zh-CN" altLang="en-US" b="0">
                <a:ea typeface="华文中宋" pitchFamily="2" charset="-122"/>
                <a:cs typeface="Tahoma" pitchFamily="34" charset="0"/>
              </a:endParaRPr>
            </a:p>
          </p:txBody>
        </p:sp>
        <p:sp>
          <p:nvSpPr>
            <p:cNvPr id="17470" name="AutoShape 20"/>
            <p:cNvSpPr>
              <a:spLocks noChangeArrowheads="1"/>
            </p:cNvSpPr>
            <p:nvPr/>
          </p:nvSpPr>
          <p:spPr bwMode="auto">
            <a:xfrm>
              <a:off x="3505" y="912"/>
              <a:ext cx="869" cy="4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187 w 21600"/>
                <a:gd name="T13" fmla="*/ 2250 h 21600"/>
                <a:gd name="T14" fmla="*/ 19413 w 21600"/>
                <a:gd name="T15" fmla="*/ 19350 h 21600"/>
              </a:gdLst>
              <a:ahLst/>
              <a:cxnLst>
                <a:cxn ang="T8">
                  <a:pos x="T0" y="T1"/>
                </a:cxn>
                <a:cxn ang="T9">
                  <a:pos x="T2" y="T3"/>
                </a:cxn>
                <a:cxn ang="T10">
                  <a:pos x="T4" y="T5"/>
                </a:cxn>
                <a:cxn ang="T11">
                  <a:pos x="T6" y="T7"/>
                </a:cxn>
              </a:cxnLst>
              <a:rect l="T12" t="T13" r="T14" b="T15"/>
              <a:pathLst>
                <a:path w="21600" h="21600">
                  <a:moveTo>
                    <a:pt x="0" y="0"/>
                  </a:moveTo>
                  <a:lnTo>
                    <a:pt x="795" y="21600"/>
                  </a:lnTo>
                  <a:lnTo>
                    <a:pt x="20805" y="21600"/>
                  </a:lnTo>
                  <a:lnTo>
                    <a:pt x="21600" y="0"/>
                  </a:lnTo>
                  <a:lnTo>
                    <a:pt x="0" y="0"/>
                  </a:lnTo>
                  <a:close/>
                </a:path>
              </a:pathLst>
            </a:custGeom>
            <a:gradFill rotWithShape="0">
              <a:gsLst>
                <a:gs pos="0">
                  <a:schemeClr val="bg1"/>
                </a:gs>
                <a:gs pos="100000">
                  <a:srgbClr val="D6DBFE"/>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endParaRPr lang="zh-CN" altLang="en-US"/>
            </a:p>
          </p:txBody>
        </p:sp>
      </p:grpSp>
      <p:sp>
        <p:nvSpPr>
          <p:cNvPr id="17421" name="Text Box 22"/>
          <p:cNvSpPr txBox="1">
            <a:spLocks noChangeArrowheads="1"/>
          </p:cNvSpPr>
          <p:nvPr>
            <p:custDataLst>
              <p:tags r:id="rId13"/>
            </p:custDataLst>
          </p:nvPr>
        </p:nvSpPr>
        <p:spPr bwMode="auto">
          <a:xfrm>
            <a:off x="358775" y="1700213"/>
            <a:ext cx="1979613"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r>
              <a:rPr lang="zh-CN" altLang="en-US">
                <a:ea typeface="华文中宋" pitchFamily="2" charset="-122"/>
              </a:rPr>
              <a:t>应用系统</a:t>
            </a:r>
          </a:p>
        </p:txBody>
      </p:sp>
      <p:sp>
        <p:nvSpPr>
          <p:cNvPr id="17424" name="Text Box 25"/>
          <p:cNvSpPr txBox="1">
            <a:spLocks noChangeArrowheads="1"/>
          </p:cNvSpPr>
          <p:nvPr>
            <p:custDataLst>
              <p:tags r:id="rId14"/>
            </p:custDataLst>
          </p:nvPr>
        </p:nvSpPr>
        <p:spPr bwMode="auto">
          <a:xfrm>
            <a:off x="2179638" y="2349500"/>
            <a:ext cx="366712"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r>
              <a:rPr lang="zh-CN" altLang="en-US">
                <a:ea typeface="华文中宋" pitchFamily="2" charset="-122"/>
              </a:rPr>
              <a:t>基础设施</a:t>
            </a:r>
          </a:p>
        </p:txBody>
      </p:sp>
      <p:sp>
        <p:nvSpPr>
          <p:cNvPr id="17425" name="Text Box 26"/>
          <p:cNvSpPr txBox="1">
            <a:spLocks noChangeArrowheads="1"/>
          </p:cNvSpPr>
          <p:nvPr>
            <p:custDataLst>
              <p:tags r:id="rId15"/>
            </p:custDataLst>
          </p:nvPr>
        </p:nvSpPr>
        <p:spPr bwMode="auto">
          <a:xfrm>
            <a:off x="2838450" y="2276475"/>
            <a:ext cx="366713"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r>
              <a:rPr lang="zh-CN" altLang="en-US">
                <a:ea typeface="华文中宋" pitchFamily="2" charset="-122"/>
              </a:rPr>
              <a:t>应用平台</a:t>
            </a:r>
          </a:p>
        </p:txBody>
      </p:sp>
      <p:sp>
        <p:nvSpPr>
          <p:cNvPr id="17426" name="AutoShape 27"/>
          <p:cNvSpPr>
            <a:spLocks/>
          </p:cNvSpPr>
          <p:nvPr>
            <p:custDataLst>
              <p:tags r:id="rId16"/>
            </p:custDataLst>
          </p:nvPr>
        </p:nvSpPr>
        <p:spPr bwMode="auto">
          <a:xfrm>
            <a:off x="3206750" y="1739900"/>
            <a:ext cx="196850" cy="1619250"/>
          </a:xfrm>
          <a:prstGeom prst="rightBrace">
            <a:avLst>
              <a:gd name="adj1" fmla="val 68548"/>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zh-CN" altLang="en-US" b="0">
              <a:ea typeface="华文中宋" pitchFamily="2" charset="-122"/>
            </a:endParaRPr>
          </a:p>
        </p:txBody>
      </p:sp>
      <p:sp>
        <p:nvSpPr>
          <p:cNvPr id="17427" name="Text Box 28"/>
          <p:cNvSpPr txBox="1">
            <a:spLocks noChangeArrowheads="1"/>
          </p:cNvSpPr>
          <p:nvPr>
            <p:custDataLst>
              <p:tags r:id="rId17"/>
            </p:custDataLst>
          </p:nvPr>
        </p:nvSpPr>
        <p:spPr bwMode="auto">
          <a:xfrm>
            <a:off x="3357563" y="2260600"/>
            <a:ext cx="366712"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r>
              <a:rPr lang="zh-CN" altLang="en-US">
                <a:ea typeface="华文中宋" pitchFamily="2" charset="-122"/>
              </a:rPr>
              <a:t>应用软件</a:t>
            </a:r>
          </a:p>
        </p:txBody>
      </p:sp>
      <p:sp>
        <p:nvSpPr>
          <p:cNvPr id="17428" name="Text Box 29"/>
          <p:cNvSpPr txBox="1">
            <a:spLocks noChangeArrowheads="1"/>
          </p:cNvSpPr>
          <p:nvPr>
            <p:custDataLst>
              <p:tags r:id="rId18"/>
            </p:custDataLst>
          </p:nvPr>
        </p:nvSpPr>
        <p:spPr bwMode="auto">
          <a:xfrm>
            <a:off x="2087563" y="3122613"/>
            <a:ext cx="61912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r>
              <a:rPr lang="en-US" altLang="zh-CN">
                <a:ea typeface="华文中宋" pitchFamily="2" charset="-122"/>
              </a:rPr>
              <a:t>(IaaS)</a:t>
            </a:r>
          </a:p>
        </p:txBody>
      </p:sp>
      <p:sp>
        <p:nvSpPr>
          <p:cNvPr id="17429" name="Text Box 30"/>
          <p:cNvSpPr txBox="1">
            <a:spLocks noChangeArrowheads="1"/>
          </p:cNvSpPr>
          <p:nvPr>
            <p:custDataLst>
              <p:tags r:id="rId19"/>
            </p:custDataLst>
          </p:nvPr>
        </p:nvSpPr>
        <p:spPr bwMode="auto">
          <a:xfrm>
            <a:off x="2716213" y="3122613"/>
            <a:ext cx="668337"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r>
              <a:rPr lang="en-US" altLang="zh-CN">
                <a:ea typeface="华文中宋" pitchFamily="2" charset="-122"/>
              </a:rPr>
              <a:t>(PaaS)</a:t>
            </a:r>
          </a:p>
        </p:txBody>
      </p:sp>
      <p:sp>
        <p:nvSpPr>
          <p:cNvPr id="17430" name="Text Box 31"/>
          <p:cNvSpPr txBox="1">
            <a:spLocks noChangeArrowheads="1"/>
          </p:cNvSpPr>
          <p:nvPr>
            <p:custDataLst>
              <p:tags r:id="rId20"/>
            </p:custDataLst>
          </p:nvPr>
        </p:nvSpPr>
        <p:spPr bwMode="auto">
          <a:xfrm>
            <a:off x="3338513" y="3122613"/>
            <a:ext cx="6604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r>
              <a:rPr lang="en-US" altLang="zh-CN">
                <a:ea typeface="华文中宋" pitchFamily="2" charset="-122"/>
              </a:rPr>
              <a:t>(SaaS)</a:t>
            </a:r>
          </a:p>
        </p:txBody>
      </p:sp>
      <p:sp>
        <p:nvSpPr>
          <p:cNvPr id="16420" name="AutoShape 36"/>
          <p:cNvSpPr>
            <a:spLocks noChangeArrowheads="1"/>
          </p:cNvSpPr>
          <p:nvPr>
            <p:custDataLst>
              <p:tags r:id="rId21"/>
            </p:custDataLst>
          </p:nvPr>
        </p:nvSpPr>
        <p:spPr bwMode="auto">
          <a:xfrm>
            <a:off x="2303463" y="3440113"/>
            <a:ext cx="131762" cy="274637"/>
          </a:xfrm>
          <a:prstGeom prst="downArrow">
            <a:avLst>
              <a:gd name="adj1" fmla="val 50000"/>
              <a:gd name="adj2" fmla="val 75000"/>
            </a:avLst>
          </a:prstGeom>
          <a:solidFill>
            <a:schemeClr val="bg1">
              <a:lumMod val="75000"/>
            </a:schemeClr>
          </a:solidFill>
          <a:ln>
            <a:headEnd/>
            <a:tailEnd/>
          </a:ln>
        </p:spPr>
        <p:style>
          <a:lnRef idx="2">
            <a:schemeClr val="accent3">
              <a:shade val="50000"/>
            </a:schemeClr>
          </a:lnRef>
          <a:fillRef idx="1">
            <a:schemeClr val="accent3"/>
          </a:fillRef>
          <a:effectRef idx="0">
            <a:schemeClr val="accent3"/>
          </a:effectRef>
          <a:fontRef idx="minor">
            <a:schemeClr val="lt1"/>
          </a:fontRef>
        </p:style>
        <p:txBody>
          <a:bodyPr vert="eaVert" wrap="none" anchor="ctr"/>
          <a:lstStyle/>
          <a:p>
            <a:pPr algn="ctr">
              <a:defRPr/>
            </a:pPr>
            <a:endParaRPr lang="zh-CN" altLang="zh-CN" b="0">
              <a:solidFill>
                <a:srgbClr val="FFFFFF"/>
              </a:solidFill>
              <a:latin typeface="微软雅黑" pitchFamily="34" charset="-122"/>
              <a:ea typeface="华文中宋" pitchFamily="2" charset="-122"/>
            </a:endParaRPr>
          </a:p>
        </p:txBody>
      </p:sp>
      <p:sp>
        <p:nvSpPr>
          <p:cNvPr id="16421" name="Text Box 37"/>
          <p:cNvSpPr txBox="1">
            <a:spLocks noChangeArrowheads="1"/>
          </p:cNvSpPr>
          <p:nvPr>
            <p:custDataLst>
              <p:tags r:id="rId22"/>
            </p:custDataLst>
          </p:nvPr>
        </p:nvSpPr>
        <p:spPr bwMode="auto">
          <a:xfrm>
            <a:off x="574675" y="3751263"/>
            <a:ext cx="3382963" cy="1031875"/>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a:spAutoFit/>
          </a:bodyPr>
          <a:lstStyle/>
          <a:p>
            <a:pPr algn="ctr">
              <a:spcBef>
                <a:spcPct val="50000"/>
              </a:spcBef>
              <a:defRPr/>
            </a:pPr>
            <a:r>
              <a:rPr lang="en-US" altLang="zh-CN">
                <a:solidFill>
                  <a:srgbClr val="FF0000"/>
                </a:solidFill>
                <a:latin typeface="微软雅黑" pitchFamily="34" charset="-122"/>
                <a:ea typeface="华文中宋" pitchFamily="2" charset="-122"/>
              </a:rPr>
              <a:t>I</a:t>
            </a:r>
            <a:r>
              <a:rPr lang="en-US" altLang="zh-CN" b="0">
                <a:solidFill>
                  <a:srgbClr val="000000"/>
                </a:solidFill>
                <a:latin typeface="微软雅黑" pitchFamily="34" charset="-122"/>
                <a:ea typeface="华文中宋" pitchFamily="2" charset="-122"/>
              </a:rPr>
              <a:t>nfrastructure </a:t>
            </a:r>
            <a:r>
              <a:rPr lang="en-US" altLang="zh-CN">
                <a:solidFill>
                  <a:srgbClr val="FF0000"/>
                </a:solidFill>
                <a:latin typeface="微软雅黑" pitchFamily="34" charset="-122"/>
                <a:ea typeface="华文中宋" pitchFamily="2" charset="-122"/>
              </a:rPr>
              <a:t>a</a:t>
            </a:r>
            <a:r>
              <a:rPr lang="en-US" altLang="zh-CN" b="0">
                <a:solidFill>
                  <a:srgbClr val="000000"/>
                </a:solidFill>
                <a:latin typeface="微软雅黑" pitchFamily="34" charset="-122"/>
                <a:ea typeface="华文中宋" pitchFamily="2" charset="-122"/>
              </a:rPr>
              <a:t>s </a:t>
            </a:r>
            <a:r>
              <a:rPr lang="en-US" altLang="zh-CN">
                <a:solidFill>
                  <a:srgbClr val="FF0000"/>
                </a:solidFill>
                <a:latin typeface="微软雅黑" pitchFamily="34" charset="-122"/>
                <a:ea typeface="华文中宋" pitchFamily="2" charset="-122"/>
              </a:rPr>
              <a:t>a</a:t>
            </a:r>
            <a:r>
              <a:rPr lang="en-US" altLang="zh-CN" b="0">
                <a:solidFill>
                  <a:srgbClr val="000000"/>
                </a:solidFill>
                <a:latin typeface="微软雅黑" pitchFamily="34" charset="-122"/>
                <a:ea typeface="华文中宋" pitchFamily="2" charset="-122"/>
              </a:rPr>
              <a:t> </a:t>
            </a:r>
            <a:r>
              <a:rPr lang="en-US" altLang="zh-CN">
                <a:solidFill>
                  <a:srgbClr val="FF0000"/>
                </a:solidFill>
                <a:latin typeface="微软雅黑" pitchFamily="34" charset="-122"/>
                <a:ea typeface="华文中宋" pitchFamily="2" charset="-122"/>
              </a:rPr>
              <a:t>S</a:t>
            </a:r>
            <a:r>
              <a:rPr lang="en-US" altLang="zh-CN" b="0">
                <a:solidFill>
                  <a:srgbClr val="000000"/>
                </a:solidFill>
                <a:latin typeface="微软雅黑" pitchFamily="34" charset="-122"/>
                <a:ea typeface="华文中宋" pitchFamily="2" charset="-122"/>
              </a:rPr>
              <a:t>ervice</a:t>
            </a:r>
          </a:p>
          <a:p>
            <a:pPr>
              <a:spcBef>
                <a:spcPct val="50000"/>
              </a:spcBef>
              <a:defRPr/>
            </a:pPr>
            <a:r>
              <a:rPr lang="zh-CN" altLang="en-US" b="0">
                <a:solidFill>
                  <a:srgbClr val="000000"/>
                </a:solidFill>
                <a:latin typeface="微软雅黑" pitchFamily="34" charset="-122"/>
                <a:ea typeface="华文中宋" pitchFamily="2" charset="-122"/>
              </a:rPr>
              <a:t>以服务的形式提供虚拟硬件资源，如虚拟主机</a:t>
            </a:r>
            <a:r>
              <a:rPr lang="en-US" altLang="zh-CN" b="0">
                <a:solidFill>
                  <a:srgbClr val="000000"/>
                </a:solidFill>
                <a:latin typeface="微软雅黑" pitchFamily="34" charset="-122"/>
                <a:ea typeface="华文中宋" pitchFamily="2" charset="-122"/>
              </a:rPr>
              <a:t>/</a:t>
            </a:r>
            <a:r>
              <a:rPr lang="zh-CN" altLang="en-US" b="0">
                <a:solidFill>
                  <a:srgbClr val="000000"/>
                </a:solidFill>
                <a:latin typeface="微软雅黑" pitchFamily="34" charset="-122"/>
                <a:ea typeface="华文中宋" pitchFamily="2" charset="-122"/>
              </a:rPr>
              <a:t>存储</a:t>
            </a:r>
            <a:r>
              <a:rPr lang="en-US" altLang="zh-CN" b="0">
                <a:solidFill>
                  <a:srgbClr val="000000"/>
                </a:solidFill>
                <a:latin typeface="微软雅黑" pitchFamily="34" charset="-122"/>
                <a:ea typeface="华文中宋" pitchFamily="2" charset="-122"/>
              </a:rPr>
              <a:t>/</a:t>
            </a:r>
            <a:r>
              <a:rPr lang="zh-CN" altLang="en-US" b="0">
                <a:solidFill>
                  <a:srgbClr val="000000"/>
                </a:solidFill>
                <a:latin typeface="微软雅黑" pitchFamily="34" charset="-122"/>
                <a:ea typeface="华文中宋" pitchFamily="2" charset="-122"/>
              </a:rPr>
              <a:t>网络</a:t>
            </a:r>
            <a:r>
              <a:rPr lang="en-US" altLang="zh-CN" b="0">
                <a:solidFill>
                  <a:srgbClr val="000000"/>
                </a:solidFill>
                <a:latin typeface="微软雅黑" pitchFamily="34" charset="-122"/>
                <a:ea typeface="华文中宋" pitchFamily="2" charset="-122"/>
              </a:rPr>
              <a:t>/</a:t>
            </a:r>
            <a:r>
              <a:rPr lang="zh-CN" altLang="en-US" b="0">
                <a:solidFill>
                  <a:srgbClr val="000000"/>
                </a:solidFill>
                <a:latin typeface="微软雅黑" pitchFamily="34" charset="-122"/>
                <a:ea typeface="华文中宋" pitchFamily="2" charset="-122"/>
              </a:rPr>
              <a:t>数据库管理等资源。</a:t>
            </a:r>
          </a:p>
          <a:p>
            <a:pPr>
              <a:spcBef>
                <a:spcPct val="50000"/>
              </a:spcBef>
              <a:defRPr/>
            </a:pPr>
            <a:r>
              <a:rPr lang="zh-CN" altLang="en-US" b="0">
                <a:solidFill>
                  <a:srgbClr val="000000"/>
                </a:solidFill>
                <a:latin typeface="微软雅黑" pitchFamily="34" charset="-122"/>
                <a:ea typeface="华文中宋" pitchFamily="2" charset="-122"/>
              </a:rPr>
              <a:t>典型应用：</a:t>
            </a:r>
            <a:r>
              <a:rPr lang="en-US" altLang="zh-CN" b="0">
                <a:solidFill>
                  <a:srgbClr val="000000"/>
                </a:solidFill>
                <a:latin typeface="微软雅黑" pitchFamily="34" charset="-122"/>
                <a:ea typeface="华文中宋" pitchFamily="2" charset="-122"/>
              </a:rPr>
              <a:t>Amazon Web</a:t>
            </a:r>
            <a:r>
              <a:rPr lang="zh-CN" altLang="en-US" b="0">
                <a:solidFill>
                  <a:srgbClr val="000000"/>
                </a:solidFill>
                <a:latin typeface="微软雅黑" pitchFamily="34" charset="-122"/>
                <a:ea typeface="华文中宋" pitchFamily="2" charset="-122"/>
              </a:rPr>
              <a:t> </a:t>
            </a:r>
            <a:r>
              <a:rPr lang="en-US" altLang="zh-CN" b="0">
                <a:solidFill>
                  <a:srgbClr val="000000"/>
                </a:solidFill>
                <a:latin typeface="微软雅黑" pitchFamily="34" charset="-122"/>
                <a:ea typeface="华文中宋" pitchFamily="2" charset="-122"/>
              </a:rPr>
              <a:t>Service (AWS)</a:t>
            </a:r>
            <a:endParaRPr lang="zh-CN" altLang="en-US" b="0">
              <a:solidFill>
                <a:srgbClr val="000000"/>
              </a:solidFill>
              <a:latin typeface="微软雅黑" pitchFamily="34" charset="-122"/>
              <a:ea typeface="华文中宋" pitchFamily="2" charset="-122"/>
            </a:endParaRPr>
          </a:p>
        </p:txBody>
      </p:sp>
      <p:sp>
        <p:nvSpPr>
          <p:cNvPr id="17433" name="Text Box 38"/>
          <p:cNvSpPr txBox="1">
            <a:spLocks noChangeArrowheads="1"/>
          </p:cNvSpPr>
          <p:nvPr>
            <p:custDataLst>
              <p:tags r:id="rId23"/>
            </p:custDataLst>
          </p:nvPr>
        </p:nvSpPr>
        <p:spPr bwMode="auto">
          <a:xfrm>
            <a:off x="4175125" y="3368675"/>
            <a:ext cx="2286000" cy="1397000"/>
          </a:xfrm>
          <a:prstGeom prst="rect">
            <a:avLst/>
          </a:prstGeom>
          <a:solidFill>
            <a:schemeClr val="bg1"/>
          </a:solidFill>
          <a:ln w="25400" algn="ctr">
            <a:solidFill>
              <a:schemeClr val="accent2"/>
            </a:solidFill>
            <a:miter lim="800000"/>
            <a:headEnd/>
            <a:tailEnd/>
          </a:ln>
        </p:spPr>
        <p:txBody>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spcBef>
                <a:spcPct val="50000"/>
              </a:spcBef>
            </a:pPr>
            <a:r>
              <a:rPr lang="en-US" altLang="zh-CN">
                <a:solidFill>
                  <a:srgbClr val="FF0000"/>
                </a:solidFill>
                <a:ea typeface="华文中宋" pitchFamily="2" charset="-122"/>
              </a:rPr>
              <a:t>P</a:t>
            </a:r>
            <a:r>
              <a:rPr lang="en-US" altLang="zh-CN" b="0">
                <a:solidFill>
                  <a:srgbClr val="000000"/>
                </a:solidFill>
                <a:ea typeface="华文中宋" pitchFamily="2" charset="-122"/>
              </a:rPr>
              <a:t>latform </a:t>
            </a:r>
            <a:r>
              <a:rPr lang="en-US" altLang="zh-CN">
                <a:solidFill>
                  <a:srgbClr val="FF0000"/>
                </a:solidFill>
                <a:ea typeface="华文中宋" pitchFamily="2" charset="-122"/>
              </a:rPr>
              <a:t>a</a:t>
            </a:r>
            <a:r>
              <a:rPr lang="en-US" altLang="zh-CN" b="0">
                <a:solidFill>
                  <a:srgbClr val="000000"/>
                </a:solidFill>
                <a:ea typeface="华文中宋" pitchFamily="2" charset="-122"/>
              </a:rPr>
              <a:t>s </a:t>
            </a:r>
            <a:r>
              <a:rPr lang="en-US" altLang="zh-CN">
                <a:solidFill>
                  <a:srgbClr val="FF0000"/>
                </a:solidFill>
                <a:ea typeface="华文中宋" pitchFamily="2" charset="-122"/>
              </a:rPr>
              <a:t>a</a:t>
            </a:r>
            <a:r>
              <a:rPr lang="en-US" altLang="zh-CN" b="0">
                <a:solidFill>
                  <a:srgbClr val="000000"/>
                </a:solidFill>
                <a:ea typeface="华文中宋" pitchFamily="2" charset="-122"/>
              </a:rPr>
              <a:t> </a:t>
            </a:r>
            <a:r>
              <a:rPr lang="en-US" altLang="zh-CN">
                <a:solidFill>
                  <a:srgbClr val="FF0000"/>
                </a:solidFill>
                <a:ea typeface="华文中宋" pitchFamily="2" charset="-122"/>
              </a:rPr>
              <a:t>S</a:t>
            </a:r>
            <a:r>
              <a:rPr lang="en-US" altLang="zh-CN" b="0">
                <a:solidFill>
                  <a:srgbClr val="000000"/>
                </a:solidFill>
                <a:ea typeface="华文中宋" pitchFamily="2" charset="-122"/>
              </a:rPr>
              <a:t>ervice</a:t>
            </a:r>
          </a:p>
          <a:p>
            <a:pPr eaLnBrk="1" hangingPunct="1">
              <a:spcBef>
                <a:spcPct val="50000"/>
              </a:spcBef>
            </a:pPr>
            <a:r>
              <a:rPr lang="zh-CN" altLang="en-US" b="0">
                <a:solidFill>
                  <a:srgbClr val="000000"/>
                </a:solidFill>
                <a:ea typeface="华文中宋" pitchFamily="2" charset="-122"/>
              </a:rPr>
              <a:t>提供应用服务引擎，如互联网应用编程接口</a:t>
            </a:r>
            <a:r>
              <a:rPr lang="en-US" altLang="zh-CN" b="0">
                <a:solidFill>
                  <a:srgbClr val="000000"/>
                </a:solidFill>
                <a:ea typeface="华文中宋" pitchFamily="2" charset="-122"/>
              </a:rPr>
              <a:t>/</a:t>
            </a:r>
            <a:r>
              <a:rPr lang="zh-CN" altLang="en-US" b="0">
                <a:solidFill>
                  <a:srgbClr val="000000"/>
                </a:solidFill>
                <a:ea typeface="华文中宋" pitchFamily="2" charset="-122"/>
              </a:rPr>
              <a:t>运行平台等。</a:t>
            </a:r>
          </a:p>
          <a:p>
            <a:pPr eaLnBrk="1" hangingPunct="1">
              <a:spcBef>
                <a:spcPct val="50000"/>
              </a:spcBef>
            </a:pPr>
            <a:r>
              <a:rPr lang="zh-CN" altLang="en-US" b="0">
                <a:solidFill>
                  <a:srgbClr val="000000"/>
                </a:solidFill>
                <a:ea typeface="华文中宋" pitchFamily="2" charset="-122"/>
              </a:rPr>
              <a:t>典型应用：</a:t>
            </a:r>
            <a:r>
              <a:rPr lang="en-US" altLang="zh-CN" b="0">
                <a:solidFill>
                  <a:srgbClr val="000000"/>
                </a:solidFill>
                <a:ea typeface="华文中宋" pitchFamily="2" charset="-122"/>
              </a:rPr>
              <a:t>Google AppEngine, Force.com, Microsoft Azure</a:t>
            </a:r>
            <a:r>
              <a:rPr lang="zh-CN" altLang="en-US" b="0">
                <a:solidFill>
                  <a:srgbClr val="000000"/>
                </a:solidFill>
                <a:ea typeface="华文中宋" pitchFamily="2" charset="-122"/>
              </a:rPr>
              <a:t>服务平台</a:t>
            </a:r>
          </a:p>
        </p:txBody>
      </p:sp>
      <p:grpSp>
        <p:nvGrpSpPr>
          <p:cNvPr id="4" name="组合 38"/>
          <p:cNvGrpSpPr/>
          <p:nvPr>
            <p:custDataLst>
              <p:tags r:id="rId24"/>
            </p:custDataLst>
          </p:nvPr>
        </p:nvGrpSpPr>
        <p:grpSpPr>
          <a:xfrm>
            <a:off x="3012471" y="3456299"/>
            <a:ext cx="989371" cy="241451"/>
            <a:chOff x="3947886" y="4038600"/>
            <a:chExt cx="1143000" cy="381000"/>
          </a:xfrm>
          <a:solidFill>
            <a:schemeClr val="bg1">
              <a:lumMod val="75000"/>
            </a:schemeClr>
          </a:solidFill>
        </p:grpSpPr>
        <p:sp>
          <p:nvSpPr>
            <p:cNvPr id="16426" name="Rectangle 42"/>
            <p:cNvSpPr>
              <a:spLocks noChangeArrowheads="1"/>
            </p:cNvSpPr>
            <p:nvPr/>
          </p:nvSpPr>
          <p:spPr bwMode="auto">
            <a:xfrm>
              <a:off x="3951288" y="4038600"/>
              <a:ext cx="76200" cy="304800"/>
            </a:xfrm>
            <a:prstGeom prst="rect">
              <a:avLst/>
            </a:prstGeom>
            <a:grpFill/>
            <a:ln>
              <a:headEnd/>
              <a:tailEnd/>
            </a:ln>
          </p:spPr>
          <p:style>
            <a:lnRef idx="2">
              <a:schemeClr val="accent3">
                <a:shade val="50000"/>
              </a:schemeClr>
            </a:lnRef>
            <a:fillRef idx="1">
              <a:schemeClr val="accent3"/>
            </a:fillRef>
            <a:effectRef idx="0">
              <a:schemeClr val="accent3"/>
            </a:effectRef>
            <a:fontRef idx="minor">
              <a:schemeClr val="lt1"/>
            </a:fontRef>
          </p:style>
          <p:txBody>
            <a:bodyPr wrap="none" anchor="ctr"/>
            <a:lstStyle/>
            <a:p>
              <a:pPr>
                <a:defRPr/>
              </a:pPr>
              <a:endParaRPr lang="zh-CN" altLang="en-US" b="0"/>
            </a:p>
          </p:txBody>
        </p:sp>
        <p:sp>
          <p:nvSpPr>
            <p:cNvPr id="16427" name="AutoShape 43"/>
            <p:cNvSpPr>
              <a:spLocks noChangeArrowheads="1"/>
            </p:cNvSpPr>
            <p:nvPr/>
          </p:nvSpPr>
          <p:spPr bwMode="auto">
            <a:xfrm rot="16200000">
              <a:off x="4443186" y="3771900"/>
              <a:ext cx="152400" cy="1143000"/>
            </a:xfrm>
            <a:prstGeom prst="downArrow">
              <a:avLst>
                <a:gd name="adj1" fmla="val 50000"/>
                <a:gd name="adj2" fmla="val 187500"/>
              </a:avLst>
            </a:prstGeom>
            <a:grpFill/>
            <a:ln>
              <a:headEnd/>
              <a:tailEnd/>
            </a:ln>
          </p:spPr>
          <p:style>
            <a:lnRef idx="2">
              <a:schemeClr val="accent3">
                <a:shade val="50000"/>
              </a:schemeClr>
            </a:lnRef>
            <a:fillRef idx="1">
              <a:schemeClr val="accent3"/>
            </a:fillRef>
            <a:effectRef idx="0">
              <a:schemeClr val="accent3"/>
            </a:effectRef>
            <a:fontRef idx="minor">
              <a:schemeClr val="lt1"/>
            </a:fontRef>
          </p:style>
          <p:txBody>
            <a:bodyPr rot="10800000" wrap="none" anchor="ctr"/>
            <a:lstStyle/>
            <a:p>
              <a:pPr algn="ctr">
                <a:defRPr/>
              </a:pPr>
              <a:endParaRPr lang="zh-CN" altLang="zh-CN" b="0"/>
            </a:p>
          </p:txBody>
        </p:sp>
      </p:grpSp>
      <p:sp>
        <p:nvSpPr>
          <p:cNvPr id="17435" name="Text Box 44"/>
          <p:cNvSpPr txBox="1">
            <a:spLocks noChangeArrowheads="1"/>
          </p:cNvSpPr>
          <p:nvPr>
            <p:custDataLst>
              <p:tags r:id="rId25"/>
            </p:custDataLst>
          </p:nvPr>
        </p:nvSpPr>
        <p:spPr bwMode="auto">
          <a:xfrm>
            <a:off x="4175125" y="1855788"/>
            <a:ext cx="2286000" cy="1397000"/>
          </a:xfrm>
          <a:prstGeom prst="rect">
            <a:avLst/>
          </a:prstGeom>
          <a:solidFill>
            <a:schemeClr val="bg1"/>
          </a:solidFill>
          <a:ln w="25400" algn="ctr">
            <a:solidFill>
              <a:schemeClr val="accent2"/>
            </a:solidFill>
            <a:miter lim="800000"/>
            <a:headEnd/>
            <a:tailEnd/>
          </a:ln>
        </p:spPr>
        <p:txBody>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gn="ctr" eaLnBrk="1" hangingPunct="1">
              <a:spcBef>
                <a:spcPct val="50000"/>
              </a:spcBef>
            </a:pPr>
            <a:r>
              <a:rPr lang="en-US" altLang="zh-CN">
                <a:solidFill>
                  <a:srgbClr val="FF0000"/>
                </a:solidFill>
                <a:ea typeface="华文中宋" pitchFamily="2" charset="-122"/>
              </a:rPr>
              <a:t>S</a:t>
            </a:r>
            <a:r>
              <a:rPr lang="en-US" altLang="zh-CN" b="0">
                <a:solidFill>
                  <a:srgbClr val="000000"/>
                </a:solidFill>
                <a:ea typeface="华文中宋" pitchFamily="2" charset="-122"/>
              </a:rPr>
              <a:t>oftware </a:t>
            </a:r>
            <a:r>
              <a:rPr lang="en-US" altLang="zh-CN">
                <a:solidFill>
                  <a:srgbClr val="FF0000"/>
                </a:solidFill>
                <a:ea typeface="华文中宋" pitchFamily="2" charset="-122"/>
              </a:rPr>
              <a:t>a</a:t>
            </a:r>
            <a:r>
              <a:rPr lang="en-US" altLang="zh-CN" b="0">
                <a:solidFill>
                  <a:srgbClr val="000000"/>
                </a:solidFill>
                <a:ea typeface="华文中宋" pitchFamily="2" charset="-122"/>
              </a:rPr>
              <a:t>s </a:t>
            </a:r>
            <a:r>
              <a:rPr lang="en-US" altLang="zh-CN">
                <a:solidFill>
                  <a:srgbClr val="FF0000"/>
                </a:solidFill>
                <a:ea typeface="华文中宋" pitchFamily="2" charset="-122"/>
              </a:rPr>
              <a:t>a</a:t>
            </a:r>
            <a:r>
              <a:rPr lang="en-US" altLang="zh-CN" b="0">
                <a:solidFill>
                  <a:srgbClr val="000000"/>
                </a:solidFill>
                <a:ea typeface="华文中宋" pitchFamily="2" charset="-122"/>
              </a:rPr>
              <a:t> </a:t>
            </a:r>
            <a:r>
              <a:rPr lang="en-US" altLang="zh-CN">
                <a:solidFill>
                  <a:srgbClr val="FF0000"/>
                </a:solidFill>
                <a:ea typeface="华文中宋" pitchFamily="2" charset="-122"/>
              </a:rPr>
              <a:t>S</a:t>
            </a:r>
            <a:r>
              <a:rPr lang="en-US" altLang="zh-CN" b="0">
                <a:solidFill>
                  <a:srgbClr val="000000"/>
                </a:solidFill>
                <a:ea typeface="华文中宋" pitchFamily="2" charset="-122"/>
              </a:rPr>
              <a:t>ervice</a:t>
            </a:r>
          </a:p>
          <a:p>
            <a:pPr eaLnBrk="1" hangingPunct="1">
              <a:spcBef>
                <a:spcPct val="50000"/>
              </a:spcBef>
            </a:pPr>
            <a:r>
              <a:rPr lang="zh-CN" altLang="en-US" b="0">
                <a:solidFill>
                  <a:srgbClr val="000000"/>
                </a:solidFill>
                <a:ea typeface="华文中宋" pitchFamily="2" charset="-122"/>
              </a:rPr>
              <a:t>用户通过</a:t>
            </a:r>
            <a:r>
              <a:rPr lang="en-US" altLang="zh-CN" b="0">
                <a:solidFill>
                  <a:srgbClr val="000000"/>
                </a:solidFill>
                <a:ea typeface="华文中宋" pitchFamily="2" charset="-122"/>
              </a:rPr>
              <a:t>Internet (</a:t>
            </a:r>
            <a:r>
              <a:rPr lang="zh-CN" altLang="en-US" b="0">
                <a:solidFill>
                  <a:srgbClr val="000000"/>
                </a:solidFill>
                <a:ea typeface="华文中宋" pitchFamily="2" charset="-122"/>
              </a:rPr>
              <a:t>如浏览器</a:t>
            </a:r>
            <a:r>
              <a:rPr lang="en-US" altLang="zh-CN" b="0">
                <a:solidFill>
                  <a:srgbClr val="000000"/>
                </a:solidFill>
                <a:ea typeface="华文中宋" pitchFamily="2" charset="-122"/>
              </a:rPr>
              <a:t>)</a:t>
            </a:r>
            <a:r>
              <a:rPr lang="zh-CN" altLang="en-US" b="0">
                <a:solidFill>
                  <a:srgbClr val="000000"/>
                </a:solidFill>
                <a:ea typeface="华文中宋" pitchFamily="2" charset="-122"/>
              </a:rPr>
              <a:t>来使用软件。用户不必购买软件，只需按需租用软件</a:t>
            </a:r>
          </a:p>
          <a:p>
            <a:pPr eaLnBrk="1" hangingPunct="1">
              <a:spcBef>
                <a:spcPct val="50000"/>
              </a:spcBef>
            </a:pPr>
            <a:r>
              <a:rPr lang="zh-CN" altLang="en-US" b="0">
                <a:solidFill>
                  <a:srgbClr val="000000"/>
                </a:solidFill>
                <a:ea typeface="华文中宋" pitchFamily="2" charset="-122"/>
              </a:rPr>
              <a:t>典型应用：</a:t>
            </a:r>
            <a:r>
              <a:rPr lang="en-US" altLang="zh-CN" b="0">
                <a:solidFill>
                  <a:srgbClr val="000000"/>
                </a:solidFill>
                <a:ea typeface="华文中宋" pitchFamily="2" charset="-122"/>
              </a:rPr>
              <a:t>Google Doc, Salesforce.com</a:t>
            </a:r>
          </a:p>
        </p:txBody>
      </p:sp>
      <p:sp>
        <p:nvSpPr>
          <p:cNvPr id="17436" name="AutoShape 45"/>
          <p:cNvSpPr>
            <a:spLocks noChangeArrowheads="1"/>
          </p:cNvSpPr>
          <p:nvPr>
            <p:custDataLst>
              <p:tags r:id="rId26"/>
            </p:custDataLst>
          </p:nvPr>
        </p:nvSpPr>
        <p:spPr bwMode="auto">
          <a:xfrm rot="-5400000">
            <a:off x="3824288" y="2293938"/>
            <a:ext cx="115887" cy="395287"/>
          </a:xfrm>
          <a:prstGeom prst="downArrow">
            <a:avLst>
              <a:gd name="adj1" fmla="val 50000"/>
              <a:gd name="adj2" fmla="val 85464"/>
            </a:avLst>
          </a:prstGeom>
          <a:solidFill>
            <a:srgbClr val="BFBFBF"/>
          </a:solidFill>
          <a:ln w="25400" algn="ctr">
            <a:solidFill>
              <a:srgbClr val="BCBCBC"/>
            </a:solidFill>
            <a:miter lim="800000"/>
            <a:headEnd/>
            <a:tailEnd/>
          </a:ln>
        </p:spPr>
        <p:txBody>
          <a:bodyPr vert="eaVert" wrap="none" anchor="ctr"/>
          <a:lstStyle/>
          <a:p>
            <a:pPr algn="ctr"/>
            <a:endParaRPr lang="zh-CN" altLang="zh-CN" b="0">
              <a:solidFill>
                <a:srgbClr val="FFFFFF"/>
              </a:solidFill>
              <a:ea typeface="华文中宋" pitchFamily="2" charset="-122"/>
            </a:endParaRPr>
          </a:p>
        </p:txBody>
      </p:sp>
      <p:sp>
        <p:nvSpPr>
          <p:cNvPr id="17437" name="TextBox 14"/>
          <p:cNvSpPr txBox="1">
            <a:spLocks noChangeArrowheads="1"/>
          </p:cNvSpPr>
          <p:nvPr>
            <p:custDataLst>
              <p:tags r:id="rId27"/>
            </p:custDataLst>
          </p:nvPr>
        </p:nvSpPr>
        <p:spPr bwMode="auto">
          <a:xfrm>
            <a:off x="755650" y="6381750"/>
            <a:ext cx="292893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eaLnBrk="1" hangingPunct="1"/>
            <a:r>
              <a:rPr kumimoji="1" lang="zh-CN" altLang="en-US" sz="1100" b="0"/>
              <a:t>数据来源：</a:t>
            </a:r>
            <a:r>
              <a:rPr kumimoji="1" lang="en-US" altLang="zh-CN" sz="1100" b="0"/>
              <a:t>IDC</a:t>
            </a:r>
            <a:r>
              <a:rPr kumimoji="1" lang="zh-CN" altLang="en-US" sz="1100" b="0"/>
              <a:t>咨询公司、赛迪顾问</a:t>
            </a:r>
          </a:p>
        </p:txBody>
      </p:sp>
      <p:sp>
        <p:nvSpPr>
          <p:cNvPr id="890920" name="Rectangle 40"/>
          <p:cNvSpPr>
            <a:spLocks noChangeArrowheads="1"/>
          </p:cNvSpPr>
          <p:nvPr>
            <p:custDataLst>
              <p:tags r:id="rId28"/>
            </p:custDataLst>
          </p:nvPr>
        </p:nvSpPr>
        <p:spPr bwMode="auto">
          <a:xfrm>
            <a:off x="4211638" y="4951413"/>
            <a:ext cx="4679950" cy="1687512"/>
          </a:xfrm>
          <a:prstGeom prst="rect">
            <a:avLst/>
          </a:prstGeom>
          <a:noFill/>
          <a:ln w="9525" algn="ctr">
            <a:noFill/>
            <a:miter lim="800000"/>
            <a:headEnd/>
            <a:tailEnd/>
          </a:ln>
          <a:effectLst>
            <a:prstShdw prst="shdw17" dist="17961" dir="2700000">
              <a:schemeClr val="accent1">
                <a:gamma/>
                <a:shade val="60000"/>
                <a:invGamma/>
                <a:alpha val="50000"/>
              </a:schemeClr>
            </a:prstShdw>
          </a:effectLst>
        </p:spPr>
        <p:txBody>
          <a:bodyPr>
            <a:spAutoFit/>
          </a:bodyPr>
          <a:lstStyle/>
          <a:p>
            <a:pPr marL="120650" indent="-120650">
              <a:lnSpc>
                <a:spcPct val="90000"/>
              </a:lnSpc>
              <a:spcBef>
                <a:spcPct val="20000"/>
              </a:spcBef>
              <a:buFontTx/>
              <a:buChar char="•"/>
              <a:defRPr/>
            </a:pPr>
            <a:r>
              <a:rPr kumimoji="1" lang="zh-CN" altLang="en-US" b="0" dirty="0">
                <a:cs typeface="Tahoma" pitchFamily="34" charset="0"/>
              </a:rPr>
              <a:t>根据</a:t>
            </a:r>
            <a:r>
              <a:rPr kumimoji="1" lang="en-US" altLang="zh-CN" b="0" dirty="0">
                <a:cs typeface="Tahoma" pitchFamily="34" charset="0"/>
              </a:rPr>
              <a:t>IDC</a:t>
            </a:r>
            <a:r>
              <a:rPr kumimoji="1" lang="zh-CN" altLang="en-US" b="0" dirty="0">
                <a:cs typeface="Tahoma" pitchFamily="34" charset="0"/>
              </a:rPr>
              <a:t>公司预测，到</a:t>
            </a:r>
            <a:r>
              <a:rPr kumimoji="1" lang="en-US" altLang="zh-CN" b="0" dirty="0">
                <a:cs typeface="Tahoma" pitchFamily="34" charset="0"/>
              </a:rPr>
              <a:t>2014</a:t>
            </a:r>
            <a:r>
              <a:rPr kumimoji="1" lang="zh-CN" altLang="en-US" b="0" dirty="0">
                <a:cs typeface="Tahoma" pitchFamily="34" charset="0"/>
              </a:rPr>
              <a:t>年总体云计算收入将达到</a:t>
            </a:r>
            <a:r>
              <a:rPr kumimoji="1" lang="en-US" altLang="zh-CN" b="0" dirty="0">
                <a:cs typeface="Tahoma" pitchFamily="34" charset="0"/>
              </a:rPr>
              <a:t>550</a:t>
            </a:r>
            <a:r>
              <a:rPr kumimoji="1" lang="zh-CN" altLang="en-US" b="0" dirty="0">
                <a:cs typeface="Tahoma" pitchFamily="34" charset="0"/>
              </a:rPr>
              <a:t>亿美元，</a:t>
            </a:r>
            <a:r>
              <a:rPr kumimoji="1" lang="en-US" altLang="zh-CN" b="0" dirty="0" err="1">
                <a:cs typeface="Tahoma" pitchFamily="34" charset="0"/>
              </a:rPr>
              <a:t>IaaS</a:t>
            </a:r>
            <a:r>
              <a:rPr kumimoji="1" lang="zh-CN" altLang="en-US" b="0" dirty="0">
                <a:cs typeface="Tahoma" pitchFamily="34" charset="0"/>
              </a:rPr>
              <a:t>收入将达到</a:t>
            </a:r>
            <a:r>
              <a:rPr kumimoji="1" lang="en-US" altLang="zh-CN" b="0" dirty="0">
                <a:cs typeface="Tahoma" pitchFamily="34" charset="0"/>
              </a:rPr>
              <a:t>250</a:t>
            </a:r>
            <a:r>
              <a:rPr kumimoji="1" lang="zh-CN" altLang="en-US" b="0" dirty="0">
                <a:cs typeface="Tahoma" pitchFamily="34" charset="0"/>
              </a:rPr>
              <a:t>亿美元</a:t>
            </a:r>
          </a:p>
          <a:p>
            <a:pPr marL="120650" indent="-120650">
              <a:lnSpc>
                <a:spcPct val="90000"/>
              </a:lnSpc>
              <a:spcBef>
                <a:spcPct val="20000"/>
              </a:spcBef>
              <a:defRPr/>
            </a:pPr>
            <a:r>
              <a:rPr kumimoji="1" lang="zh-CN" altLang="en-US" b="0" dirty="0">
                <a:cs typeface="Tahoma" pitchFamily="34" charset="0"/>
              </a:rPr>
              <a:t>	      注：目前国际上没有统一的云计算收入统计标准，但云计算</a:t>
            </a:r>
            <a:r>
              <a:rPr lang="zh-CN" altLang="en-US" b="0" dirty="0">
                <a:cs typeface="Tahoma" pitchFamily="34" charset="0"/>
              </a:rPr>
              <a:t>思想已被普遍接受。上述</a:t>
            </a:r>
            <a:r>
              <a:rPr kumimoji="1" lang="en-US" altLang="zh-CN" b="0" dirty="0" err="1">
                <a:cs typeface="Tahoma" pitchFamily="34" charset="0"/>
              </a:rPr>
              <a:t>IaaS</a:t>
            </a:r>
            <a:r>
              <a:rPr kumimoji="1" lang="zh-CN" altLang="en-US" b="0" dirty="0">
                <a:cs typeface="Tahoma" pitchFamily="34" charset="0"/>
              </a:rPr>
              <a:t>收入应包括真正的公有云服务、主机托管租赁等传统</a:t>
            </a:r>
            <a:r>
              <a:rPr kumimoji="1" lang="en-US" altLang="zh-CN" b="0" dirty="0">
                <a:cs typeface="Tahoma" pitchFamily="34" charset="0"/>
              </a:rPr>
              <a:t>IDC</a:t>
            </a:r>
            <a:r>
              <a:rPr kumimoji="1" lang="zh-CN" altLang="en-US" b="0" dirty="0">
                <a:cs typeface="Tahoma" pitchFamily="34" charset="0"/>
              </a:rPr>
              <a:t>服务及部分企业的私有云服务</a:t>
            </a:r>
          </a:p>
          <a:p>
            <a:pPr marL="120650" indent="-120650">
              <a:lnSpc>
                <a:spcPct val="90000"/>
              </a:lnSpc>
              <a:spcBef>
                <a:spcPct val="20000"/>
              </a:spcBef>
              <a:buFontTx/>
              <a:buChar char="•"/>
              <a:defRPr/>
            </a:pPr>
            <a:r>
              <a:rPr kumimoji="1" lang="zh-CN" altLang="zh-CN" b="0" dirty="0">
                <a:cs typeface="Tahoma" pitchFamily="34" charset="0"/>
              </a:rPr>
              <a:t>赛迪顾问</a:t>
            </a:r>
            <a:r>
              <a:rPr kumimoji="1" lang="zh-CN" altLang="en-US" b="0" dirty="0">
                <a:cs typeface="Tahoma" pitchFamily="34" charset="0"/>
              </a:rPr>
              <a:t>发布的</a:t>
            </a:r>
            <a:r>
              <a:rPr kumimoji="1" lang="zh-CN" altLang="zh-CN" b="0" dirty="0">
                <a:cs typeface="Tahoma" pitchFamily="34" charset="0"/>
              </a:rPr>
              <a:t>《中国云计算产业发展白皮书》预</a:t>
            </a:r>
            <a:r>
              <a:rPr kumimoji="1" lang="zh-CN" altLang="en-US" b="0" dirty="0">
                <a:cs typeface="Tahoma" pitchFamily="34" charset="0"/>
              </a:rPr>
              <a:t>测</a:t>
            </a:r>
            <a:r>
              <a:rPr kumimoji="1" lang="zh-CN" altLang="zh-CN" b="0" dirty="0">
                <a:cs typeface="Tahoma" pitchFamily="34" charset="0"/>
              </a:rPr>
              <a:t>，2010年中国云计算规模</a:t>
            </a:r>
            <a:r>
              <a:rPr kumimoji="1" lang="zh-CN" altLang="en-US" b="0" dirty="0">
                <a:cs typeface="Tahoma" pitchFamily="34" charset="0"/>
              </a:rPr>
              <a:t>超过</a:t>
            </a:r>
            <a:r>
              <a:rPr kumimoji="1" lang="en-US" altLang="zh-CN" b="0" dirty="0">
                <a:cs typeface="Tahoma" pitchFamily="34" charset="0"/>
              </a:rPr>
              <a:t>100</a:t>
            </a:r>
            <a:r>
              <a:rPr kumimoji="1" lang="zh-CN" altLang="en-US" b="0" dirty="0">
                <a:cs typeface="Tahoma" pitchFamily="34" charset="0"/>
              </a:rPr>
              <a:t>亿</a:t>
            </a:r>
            <a:r>
              <a:rPr kumimoji="1" lang="zh-CN" altLang="zh-CN" b="0" dirty="0">
                <a:cs typeface="Tahoma" pitchFamily="34" charset="0"/>
              </a:rPr>
              <a:t>元</a:t>
            </a:r>
            <a:r>
              <a:rPr kumimoji="1" lang="zh-CN" altLang="en-US" b="0" dirty="0">
                <a:cs typeface="Tahoma" pitchFamily="34" charset="0"/>
              </a:rPr>
              <a:t>。</a:t>
            </a:r>
          </a:p>
          <a:p>
            <a:pPr marL="120650" indent="-120650">
              <a:lnSpc>
                <a:spcPct val="90000"/>
              </a:lnSpc>
              <a:spcBef>
                <a:spcPct val="20000"/>
              </a:spcBef>
              <a:defRPr/>
            </a:pPr>
            <a:r>
              <a:rPr kumimoji="1" lang="zh-CN" altLang="en-US" b="0" dirty="0">
                <a:cs typeface="Tahoma" pitchFamily="34" charset="0"/>
              </a:rPr>
              <a:t>         注：国内云计算收入也缺乏统一的统计标准，</a:t>
            </a:r>
            <a:r>
              <a:rPr kumimoji="1" lang="zh-CN" altLang="en-US" dirty="0">
                <a:cs typeface="Tahoma" pitchFamily="34" charset="0"/>
              </a:rPr>
              <a:t>上述收入应该包括虚拟主机及软件租用服务的收入</a:t>
            </a:r>
          </a:p>
        </p:txBody>
      </p:sp>
      <p:sp>
        <p:nvSpPr>
          <p:cNvPr id="890921" name="AutoShape 41"/>
          <p:cNvSpPr>
            <a:spLocks noChangeArrowheads="1"/>
          </p:cNvSpPr>
          <p:nvPr>
            <p:custDataLst>
              <p:tags r:id="rId29"/>
            </p:custDataLst>
          </p:nvPr>
        </p:nvSpPr>
        <p:spPr bwMode="auto">
          <a:xfrm>
            <a:off x="179388" y="5084763"/>
            <a:ext cx="360362" cy="1223962"/>
          </a:xfrm>
          <a:prstGeom prst="flowChartAlternateProcess">
            <a:avLst/>
          </a:prstGeom>
          <a:solidFill>
            <a:schemeClr val="accent1"/>
          </a:solidFill>
          <a:ln w="9525" algn="ctr">
            <a:noFill/>
            <a:miter lim="800000"/>
            <a:headEnd/>
            <a:tailEnd/>
          </a:ln>
          <a:effectLst>
            <a:prstShdw prst="shdw17" dist="17961" dir="2700000">
              <a:schemeClr val="accent1">
                <a:gamma/>
                <a:shade val="60000"/>
                <a:invGamma/>
                <a:alpha val="50000"/>
              </a:schemeClr>
            </a:prstShdw>
          </a:effectLst>
        </p:spPr>
        <p:txBody>
          <a:bodyPr vert="eaVert" wrap="none" anchor="ctr"/>
          <a:lstStyle/>
          <a:p>
            <a:pPr marL="266700" indent="-266700" algn="ctr" eaLnBrk="0" hangingPunct="0">
              <a:lnSpc>
                <a:spcPct val="110000"/>
              </a:lnSpc>
              <a:spcBef>
                <a:spcPct val="30000"/>
              </a:spcBef>
              <a:buClr>
                <a:srgbClr val="0000CC"/>
              </a:buClr>
              <a:buFont typeface="Wingdings" pitchFamily="2" charset="2"/>
              <a:buNone/>
              <a:defRPr/>
            </a:pPr>
            <a:r>
              <a:rPr lang="zh-CN" altLang="en-US" sz="1400">
                <a:cs typeface="Tahoma" pitchFamily="34" charset="0"/>
              </a:rPr>
              <a:t>全球发展趋势</a:t>
            </a:r>
          </a:p>
        </p:txBody>
      </p:sp>
      <p:sp>
        <p:nvSpPr>
          <p:cNvPr id="17440" name="矩形 8"/>
          <p:cNvSpPr>
            <a:spLocks noChangeArrowheads="1"/>
          </p:cNvSpPr>
          <p:nvPr>
            <p:custDataLst>
              <p:tags r:id="rId30"/>
            </p:custDataLst>
          </p:nvPr>
        </p:nvSpPr>
        <p:spPr bwMode="auto">
          <a:xfrm>
            <a:off x="611188" y="4891088"/>
            <a:ext cx="8210550" cy="1778000"/>
          </a:xfrm>
          <a:prstGeom prst="rect">
            <a:avLst/>
          </a:prstGeom>
          <a:noFill/>
          <a:ln w="9525" algn="ctr">
            <a:solidFill>
              <a:srgbClr val="002060"/>
            </a:solidFill>
            <a:round/>
            <a:headEnd/>
            <a:tailEnd/>
          </a:ln>
          <a:extLst>
            <a:ext uri="{909E8E84-426E-40DD-AFC4-6F175D3DCCD1}">
              <a14:hiddenFill xmlns:a14="http://schemas.microsoft.com/office/drawing/2010/main">
                <a:solidFill>
                  <a:srgbClr val="FFFFFF"/>
                </a:solidFill>
              </a14:hiddenFill>
            </a:ext>
          </a:extLst>
        </p:spPr>
        <p:txBody>
          <a:bodyPr/>
          <a:lstStyle/>
          <a:p>
            <a:pPr marL="117475" indent="-117475">
              <a:spcBef>
                <a:spcPct val="20000"/>
              </a:spcBef>
              <a:buFontTx/>
              <a:buChar char="•"/>
            </a:pPr>
            <a:endParaRPr kumimoji="1" lang="en-US" altLang="zh-CN" sz="1400" b="0"/>
          </a:p>
        </p:txBody>
      </p:sp>
      <p:sp>
        <p:nvSpPr>
          <p:cNvPr id="17441" name="矩形 8"/>
          <p:cNvSpPr>
            <a:spLocks noChangeArrowheads="1"/>
          </p:cNvSpPr>
          <p:nvPr>
            <p:custDataLst>
              <p:tags r:id="rId31"/>
            </p:custDataLst>
          </p:nvPr>
        </p:nvSpPr>
        <p:spPr bwMode="auto">
          <a:xfrm>
            <a:off x="341313" y="1555750"/>
            <a:ext cx="6191250" cy="3313113"/>
          </a:xfrm>
          <a:prstGeom prst="rect">
            <a:avLst/>
          </a:prstGeom>
          <a:noFill/>
          <a:ln w="9525" algn="ctr">
            <a:solidFill>
              <a:srgbClr val="002060"/>
            </a:solidFill>
            <a:round/>
            <a:headEnd/>
            <a:tailEnd/>
          </a:ln>
          <a:extLst>
            <a:ext uri="{909E8E84-426E-40DD-AFC4-6F175D3DCCD1}">
              <a14:hiddenFill xmlns:a14="http://schemas.microsoft.com/office/drawing/2010/main">
                <a:solidFill>
                  <a:srgbClr val="FFFFFF"/>
                </a:solidFill>
              </a14:hiddenFill>
            </a:ext>
          </a:extLst>
        </p:spPr>
        <p:txBody>
          <a:bodyPr/>
          <a:lstStyle/>
          <a:p>
            <a:pPr marL="117475" indent="-117475">
              <a:spcBef>
                <a:spcPct val="20000"/>
              </a:spcBef>
              <a:buFontTx/>
              <a:buChar char="•"/>
            </a:pPr>
            <a:endParaRPr kumimoji="1" lang="en-US" altLang="zh-CN" sz="1400" b="0"/>
          </a:p>
        </p:txBody>
      </p:sp>
      <p:sp>
        <p:nvSpPr>
          <p:cNvPr id="890924" name="AutoShape 44"/>
          <p:cNvSpPr>
            <a:spLocks noChangeArrowheads="1"/>
          </p:cNvSpPr>
          <p:nvPr>
            <p:custDataLst>
              <p:tags r:id="rId32"/>
            </p:custDataLst>
          </p:nvPr>
        </p:nvSpPr>
        <p:spPr bwMode="auto">
          <a:xfrm>
            <a:off x="2500313" y="1484313"/>
            <a:ext cx="1655762" cy="360362"/>
          </a:xfrm>
          <a:prstGeom prst="flowChartAlternateProcess">
            <a:avLst/>
          </a:prstGeom>
          <a:solidFill>
            <a:schemeClr val="accent1"/>
          </a:solidFill>
          <a:ln w="9525" algn="ctr">
            <a:noFill/>
            <a:miter lim="800000"/>
            <a:headEnd/>
            <a:tailEnd/>
          </a:ln>
          <a:effectLst>
            <a:prstShdw prst="shdw17" dist="17961" dir="2700000">
              <a:schemeClr val="accent1">
                <a:gamma/>
                <a:shade val="60000"/>
                <a:invGamma/>
                <a:alpha val="50000"/>
              </a:schemeClr>
            </a:prstShdw>
          </a:effectLst>
        </p:spPr>
        <p:txBody>
          <a:bodyPr wrap="none" anchor="ctr"/>
          <a:lstStyle/>
          <a:p>
            <a:pPr marL="266700" indent="-266700" algn="ctr" eaLnBrk="0" hangingPunct="0">
              <a:lnSpc>
                <a:spcPct val="110000"/>
              </a:lnSpc>
              <a:spcBef>
                <a:spcPct val="30000"/>
              </a:spcBef>
              <a:buClr>
                <a:srgbClr val="0000CC"/>
              </a:buClr>
              <a:buFont typeface="Wingdings" pitchFamily="2" charset="2"/>
              <a:buNone/>
              <a:defRPr/>
            </a:pPr>
            <a:r>
              <a:rPr lang="zh-CN" altLang="en-US" sz="1400">
                <a:cs typeface="Tahoma" pitchFamily="34" charset="0"/>
              </a:rPr>
              <a:t>云计算服务类型</a:t>
            </a:r>
          </a:p>
        </p:txBody>
      </p:sp>
      <p:sp>
        <p:nvSpPr>
          <p:cNvPr id="17443" name="矩形 8"/>
          <p:cNvSpPr>
            <a:spLocks noChangeArrowheads="1"/>
          </p:cNvSpPr>
          <p:nvPr>
            <p:custDataLst>
              <p:tags r:id="rId33"/>
            </p:custDataLst>
          </p:nvPr>
        </p:nvSpPr>
        <p:spPr bwMode="auto">
          <a:xfrm>
            <a:off x="6677025" y="1555750"/>
            <a:ext cx="2160588" cy="3313113"/>
          </a:xfrm>
          <a:prstGeom prst="rect">
            <a:avLst/>
          </a:prstGeom>
          <a:noFill/>
          <a:ln w="9525" algn="ctr">
            <a:solidFill>
              <a:srgbClr val="002060"/>
            </a:solidFill>
            <a:round/>
            <a:headEnd/>
            <a:tailEnd/>
          </a:ln>
          <a:extLst>
            <a:ext uri="{909E8E84-426E-40DD-AFC4-6F175D3DCCD1}">
              <a14:hiddenFill xmlns:a14="http://schemas.microsoft.com/office/drawing/2010/main">
                <a:solidFill>
                  <a:srgbClr val="FFFFFF"/>
                </a:solidFill>
              </a14:hiddenFill>
            </a:ext>
          </a:extLst>
        </p:spPr>
        <p:txBody>
          <a:bodyPr/>
          <a:lstStyle/>
          <a:p>
            <a:pPr marL="117475" indent="-117475">
              <a:spcBef>
                <a:spcPct val="20000"/>
              </a:spcBef>
              <a:buFontTx/>
              <a:buChar char="•"/>
            </a:pPr>
            <a:endParaRPr kumimoji="1" lang="en-US" altLang="zh-CN" sz="1400" b="0"/>
          </a:p>
        </p:txBody>
      </p:sp>
      <p:sp>
        <p:nvSpPr>
          <p:cNvPr id="890926" name="AutoShape 46"/>
          <p:cNvSpPr>
            <a:spLocks noChangeArrowheads="1"/>
          </p:cNvSpPr>
          <p:nvPr>
            <p:custDataLst>
              <p:tags r:id="rId34"/>
            </p:custDataLst>
          </p:nvPr>
        </p:nvSpPr>
        <p:spPr bwMode="auto">
          <a:xfrm>
            <a:off x="6891338" y="1484313"/>
            <a:ext cx="1655762" cy="360362"/>
          </a:xfrm>
          <a:prstGeom prst="flowChartAlternateProcess">
            <a:avLst/>
          </a:prstGeom>
          <a:solidFill>
            <a:schemeClr val="accent1"/>
          </a:solidFill>
          <a:ln w="9525" algn="ctr">
            <a:noFill/>
            <a:miter lim="800000"/>
            <a:headEnd/>
            <a:tailEnd/>
          </a:ln>
          <a:effectLst>
            <a:prstShdw prst="shdw17" dist="17961" dir="2700000">
              <a:schemeClr val="accent1">
                <a:gamma/>
                <a:shade val="60000"/>
                <a:invGamma/>
                <a:alpha val="50000"/>
              </a:schemeClr>
            </a:prstShdw>
          </a:effectLst>
        </p:spPr>
        <p:txBody>
          <a:bodyPr wrap="none" anchor="ctr"/>
          <a:lstStyle/>
          <a:p>
            <a:pPr marL="266700" indent="-266700" algn="ctr" eaLnBrk="0" hangingPunct="0">
              <a:lnSpc>
                <a:spcPct val="110000"/>
              </a:lnSpc>
              <a:spcBef>
                <a:spcPct val="30000"/>
              </a:spcBef>
              <a:buClr>
                <a:srgbClr val="0000CC"/>
              </a:buClr>
              <a:buFont typeface="Wingdings" pitchFamily="2" charset="2"/>
              <a:buNone/>
              <a:defRPr/>
            </a:pPr>
            <a:r>
              <a:rPr lang="zh-CN" altLang="en-US" sz="1400">
                <a:cs typeface="Tahoma" pitchFamily="34" charset="0"/>
              </a:rPr>
              <a:t>云计算发展现状</a:t>
            </a:r>
            <a:endParaRPr lang="en-US" altLang="zh-CN" sz="1400">
              <a:cs typeface="Tahoma" pitchFamily="34" charset="0"/>
            </a:endParaRPr>
          </a:p>
        </p:txBody>
      </p:sp>
      <p:sp>
        <p:nvSpPr>
          <p:cNvPr id="890927" name="Oval 47"/>
          <p:cNvSpPr>
            <a:spLocks noChangeArrowheads="1"/>
          </p:cNvSpPr>
          <p:nvPr>
            <p:custDataLst>
              <p:tags r:id="rId35"/>
            </p:custDataLst>
          </p:nvPr>
        </p:nvSpPr>
        <p:spPr bwMode="auto">
          <a:xfrm>
            <a:off x="6750050" y="1911350"/>
            <a:ext cx="647700" cy="431800"/>
          </a:xfrm>
          <a:prstGeom prst="ellipse">
            <a:avLst/>
          </a:prstGeom>
          <a:solidFill>
            <a:schemeClr val="accent1"/>
          </a:solidFill>
          <a:ln w="9525" algn="ctr">
            <a:noFill/>
            <a:round/>
            <a:headEnd/>
            <a:tailEnd/>
          </a:ln>
          <a:effectLst>
            <a:prstShdw prst="shdw17" dist="17961" dir="2700000">
              <a:schemeClr val="accent1">
                <a:gamma/>
                <a:shade val="60000"/>
                <a:invGamma/>
                <a:alpha val="50000"/>
              </a:schemeClr>
            </a:prstShdw>
          </a:effectLst>
        </p:spPr>
        <p:txBody>
          <a:bodyPr wrap="none" anchor="ctr"/>
          <a:lstStyle/>
          <a:p>
            <a:pPr marL="266700" indent="-266700" algn="ctr" eaLnBrk="0" hangingPunct="0">
              <a:lnSpc>
                <a:spcPct val="110000"/>
              </a:lnSpc>
              <a:spcBef>
                <a:spcPct val="30000"/>
              </a:spcBef>
              <a:buClr>
                <a:srgbClr val="0000CC"/>
              </a:buClr>
              <a:buFont typeface="Wingdings" pitchFamily="2" charset="2"/>
              <a:buNone/>
              <a:defRPr/>
            </a:pPr>
            <a:r>
              <a:rPr lang="zh-CN" altLang="en-US" sz="1400">
                <a:cs typeface="Tahoma" pitchFamily="34" charset="0"/>
              </a:rPr>
              <a:t>国外</a:t>
            </a:r>
          </a:p>
        </p:txBody>
      </p:sp>
      <p:sp>
        <p:nvSpPr>
          <p:cNvPr id="890928" name="Oval 48"/>
          <p:cNvSpPr>
            <a:spLocks noChangeArrowheads="1"/>
          </p:cNvSpPr>
          <p:nvPr>
            <p:custDataLst>
              <p:tags r:id="rId36"/>
            </p:custDataLst>
          </p:nvPr>
        </p:nvSpPr>
        <p:spPr bwMode="auto">
          <a:xfrm>
            <a:off x="6821488" y="3932238"/>
            <a:ext cx="647700" cy="431800"/>
          </a:xfrm>
          <a:prstGeom prst="ellipse">
            <a:avLst/>
          </a:prstGeom>
          <a:solidFill>
            <a:schemeClr val="accent1"/>
          </a:solidFill>
          <a:ln w="9525" algn="ctr">
            <a:noFill/>
            <a:round/>
            <a:headEnd/>
            <a:tailEnd/>
          </a:ln>
          <a:effectLst>
            <a:prstShdw prst="shdw17" dist="17961" dir="2700000">
              <a:schemeClr val="accent1">
                <a:gamma/>
                <a:shade val="60000"/>
                <a:invGamma/>
                <a:alpha val="50000"/>
              </a:schemeClr>
            </a:prstShdw>
          </a:effectLst>
        </p:spPr>
        <p:txBody>
          <a:bodyPr wrap="none" anchor="ctr"/>
          <a:lstStyle/>
          <a:p>
            <a:pPr marL="266700" indent="-266700" algn="ctr" eaLnBrk="0" hangingPunct="0">
              <a:lnSpc>
                <a:spcPct val="110000"/>
              </a:lnSpc>
              <a:spcBef>
                <a:spcPct val="30000"/>
              </a:spcBef>
              <a:buClr>
                <a:srgbClr val="0000CC"/>
              </a:buClr>
              <a:buFont typeface="Wingdings" pitchFamily="2" charset="2"/>
              <a:buNone/>
              <a:defRPr/>
            </a:pPr>
            <a:r>
              <a:rPr lang="zh-CN" altLang="en-US" sz="1400">
                <a:cs typeface="Tahoma" pitchFamily="34" charset="0"/>
              </a:rPr>
              <a:t>国内</a:t>
            </a:r>
          </a:p>
        </p:txBody>
      </p:sp>
      <p:pic>
        <p:nvPicPr>
          <p:cNvPr id="17447" name="Picture 42"/>
          <p:cNvPicPr>
            <a:picLocks noChangeAspect="1" noChangeArrowheads="1"/>
          </p:cNvPicPr>
          <p:nvPr>
            <p:custDataLst>
              <p:tags r:id="rId37"/>
            </p:custDataLst>
          </p:nvPr>
        </p:nvPicPr>
        <p:blipFill>
          <a:blip r:embed="rId65">
            <a:extLst>
              <a:ext uri="{28A0092B-C50C-407E-A947-70E740481C1C}">
                <a14:useLocalDpi xmlns:a14="http://schemas.microsoft.com/office/drawing/2010/main" val="0"/>
              </a:ext>
            </a:extLst>
          </a:blip>
          <a:srcRect/>
          <a:stretch>
            <a:fillRect/>
          </a:stretch>
        </p:blipFill>
        <p:spPr bwMode="auto">
          <a:xfrm>
            <a:off x="6821488" y="2419350"/>
            <a:ext cx="103187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8" name="Picture 43"/>
          <p:cNvPicPr>
            <a:picLocks noChangeAspect="1" noChangeArrowheads="1"/>
          </p:cNvPicPr>
          <p:nvPr>
            <p:custDataLst>
              <p:tags r:id="rId38"/>
            </p:custDataLst>
          </p:nvPr>
        </p:nvPicPr>
        <p:blipFill>
          <a:blip r:embed="rId66">
            <a:extLst>
              <a:ext uri="{28A0092B-C50C-407E-A947-70E740481C1C}">
                <a14:useLocalDpi xmlns:a14="http://schemas.microsoft.com/office/drawing/2010/main" val="0"/>
              </a:ext>
            </a:extLst>
          </a:blip>
          <a:srcRect/>
          <a:stretch>
            <a:fillRect/>
          </a:stretch>
        </p:blipFill>
        <p:spPr bwMode="auto">
          <a:xfrm>
            <a:off x="6821488" y="2870200"/>
            <a:ext cx="39370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49" name="Picture 44"/>
          <p:cNvPicPr>
            <a:picLocks noChangeAspect="1" noChangeArrowheads="1"/>
          </p:cNvPicPr>
          <p:nvPr>
            <p:custDataLst>
              <p:tags r:id="rId39"/>
            </p:custDataLst>
          </p:nvPr>
        </p:nvPicPr>
        <p:blipFill>
          <a:blip r:embed="rId67">
            <a:extLst>
              <a:ext uri="{28A0092B-C50C-407E-A947-70E740481C1C}">
                <a14:useLocalDpi xmlns:a14="http://schemas.microsoft.com/office/drawing/2010/main" val="0"/>
              </a:ext>
            </a:extLst>
          </a:blip>
          <a:srcRect/>
          <a:stretch>
            <a:fillRect/>
          </a:stretch>
        </p:blipFill>
        <p:spPr bwMode="auto">
          <a:xfrm>
            <a:off x="7881938" y="2419350"/>
            <a:ext cx="89217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50" name="Picture 45"/>
          <p:cNvPicPr>
            <a:picLocks noChangeAspect="1" noChangeArrowheads="1"/>
          </p:cNvPicPr>
          <p:nvPr>
            <p:custDataLst>
              <p:tags r:id="rId40"/>
            </p:custDataLst>
          </p:nvPr>
        </p:nvPicPr>
        <p:blipFill>
          <a:blip r:embed="rId68">
            <a:extLst>
              <a:ext uri="{28A0092B-C50C-407E-A947-70E740481C1C}">
                <a14:useLocalDpi xmlns:a14="http://schemas.microsoft.com/office/drawing/2010/main" val="0"/>
              </a:ext>
            </a:extLst>
          </a:blip>
          <a:srcRect/>
          <a:stretch>
            <a:fillRect/>
          </a:stretch>
        </p:blipFill>
        <p:spPr bwMode="auto">
          <a:xfrm>
            <a:off x="7881938" y="2870200"/>
            <a:ext cx="892175"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51" name="Picture 46"/>
          <p:cNvPicPr>
            <a:picLocks noChangeAspect="1" noChangeArrowheads="1"/>
          </p:cNvPicPr>
          <p:nvPr>
            <p:custDataLst>
              <p:tags r:id="rId41"/>
            </p:custDataLst>
          </p:nvPr>
        </p:nvPicPr>
        <p:blipFill>
          <a:blip r:embed="rId69">
            <a:extLst>
              <a:ext uri="{28A0092B-C50C-407E-A947-70E740481C1C}">
                <a14:useLocalDpi xmlns:a14="http://schemas.microsoft.com/office/drawing/2010/main" val="0"/>
              </a:ext>
            </a:extLst>
          </a:blip>
          <a:srcRect/>
          <a:stretch>
            <a:fillRect/>
          </a:stretch>
        </p:blipFill>
        <p:spPr bwMode="auto">
          <a:xfrm>
            <a:off x="7237413" y="2870200"/>
            <a:ext cx="615950"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52" name="Picture 30"/>
          <p:cNvPicPr>
            <a:picLocks noChangeAspect="1" noChangeArrowheads="1"/>
          </p:cNvPicPr>
          <p:nvPr>
            <p:custDataLst>
              <p:tags r:id="rId42"/>
            </p:custDataLst>
          </p:nvPr>
        </p:nvPicPr>
        <p:blipFill>
          <a:blip r:embed="rId70">
            <a:extLst>
              <a:ext uri="{28A0092B-C50C-407E-A947-70E740481C1C}">
                <a14:useLocalDpi xmlns:a14="http://schemas.microsoft.com/office/drawing/2010/main" val="0"/>
              </a:ext>
            </a:extLst>
          </a:blip>
          <a:srcRect/>
          <a:stretch>
            <a:fillRect/>
          </a:stretch>
        </p:blipFill>
        <p:spPr bwMode="auto">
          <a:xfrm>
            <a:off x="7237413" y="3262313"/>
            <a:ext cx="1536700"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0935" name="Text Box 55"/>
          <p:cNvSpPr txBox="1">
            <a:spLocks noChangeArrowheads="1"/>
          </p:cNvSpPr>
          <p:nvPr>
            <p:custDataLst>
              <p:tags r:id="rId43"/>
            </p:custDataLst>
          </p:nvPr>
        </p:nvSpPr>
        <p:spPr bwMode="auto">
          <a:xfrm>
            <a:off x="7469188" y="1911350"/>
            <a:ext cx="1296987" cy="495300"/>
          </a:xfrm>
          <a:prstGeom prst="rect">
            <a:avLst/>
          </a:prstGeom>
          <a:noFill/>
          <a:ln w="9525" algn="ctr">
            <a:noFill/>
            <a:miter lim="800000"/>
            <a:headEnd/>
            <a:tailEnd/>
          </a:ln>
          <a:effectLst>
            <a:prstShdw prst="shdw17" dist="17961" dir="2700000">
              <a:schemeClr val="accent1">
                <a:gamma/>
                <a:shade val="60000"/>
                <a:invGamma/>
                <a:alpha val="50000"/>
              </a:schemeClr>
            </a:prstShdw>
          </a:effectLst>
        </p:spPr>
        <p:txBody>
          <a:bodyPr>
            <a:spAutoFit/>
          </a:bodyPr>
          <a:lstStyle/>
          <a:p>
            <a:pPr eaLnBrk="0" hangingPunct="0">
              <a:lnSpc>
                <a:spcPct val="110000"/>
              </a:lnSpc>
              <a:spcBef>
                <a:spcPct val="50000"/>
              </a:spcBef>
              <a:buClr>
                <a:srgbClr val="0000CC"/>
              </a:buClr>
              <a:buFont typeface="Wingdings" pitchFamily="2" charset="2"/>
              <a:buNone/>
              <a:defRPr/>
            </a:pPr>
            <a:r>
              <a:rPr lang="en-US" altLang="zh-CN" b="0">
                <a:cs typeface="Tahoma" pitchFamily="34" charset="0"/>
              </a:rPr>
              <a:t>国外云计算发展已初具规模</a:t>
            </a:r>
            <a:endParaRPr lang="zh-CN" altLang="en-US" b="0">
              <a:cs typeface="Tahoma" pitchFamily="34" charset="0"/>
            </a:endParaRPr>
          </a:p>
        </p:txBody>
      </p:sp>
      <p:sp>
        <p:nvSpPr>
          <p:cNvPr id="890936" name="Text Box 56"/>
          <p:cNvSpPr txBox="1">
            <a:spLocks noChangeArrowheads="1"/>
          </p:cNvSpPr>
          <p:nvPr>
            <p:custDataLst>
              <p:tags r:id="rId44"/>
            </p:custDataLst>
          </p:nvPr>
        </p:nvSpPr>
        <p:spPr bwMode="auto">
          <a:xfrm>
            <a:off x="7397750" y="3997325"/>
            <a:ext cx="1439863" cy="293688"/>
          </a:xfrm>
          <a:prstGeom prst="rect">
            <a:avLst/>
          </a:prstGeom>
          <a:noFill/>
          <a:ln w="9525" algn="ctr">
            <a:noFill/>
            <a:miter lim="800000"/>
            <a:headEnd/>
            <a:tailEnd/>
          </a:ln>
          <a:effectLst>
            <a:prstShdw prst="shdw17" dist="17961" dir="2700000">
              <a:schemeClr val="accent1">
                <a:gamma/>
                <a:shade val="60000"/>
                <a:invGamma/>
                <a:alpha val="50000"/>
              </a:schemeClr>
            </a:prstShdw>
          </a:effectLst>
        </p:spPr>
        <p:txBody>
          <a:bodyPr>
            <a:spAutoFit/>
          </a:bodyPr>
          <a:lstStyle/>
          <a:p>
            <a:pPr marL="266700" indent="-266700" eaLnBrk="0" hangingPunct="0">
              <a:lnSpc>
                <a:spcPct val="110000"/>
              </a:lnSpc>
              <a:spcBef>
                <a:spcPct val="50000"/>
              </a:spcBef>
              <a:buClr>
                <a:srgbClr val="0000CC"/>
              </a:buClr>
              <a:buFont typeface="Wingdings" pitchFamily="2" charset="2"/>
              <a:buNone/>
              <a:defRPr/>
            </a:pPr>
            <a:r>
              <a:rPr lang="en-US" altLang="zh-CN" b="0">
                <a:cs typeface="Tahoma" pitchFamily="34" charset="0"/>
              </a:rPr>
              <a:t>国内</a:t>
            </a:r>
            <a:r>
              <a:rPr lang="zh-CN" altLang="en-US" b="0">
                <a:cs typeface="Tahoma" pitchFamily="34" charset="0"/>
              </a:rPr>
              <a:t>尚在起步阶段</a:t>
            </a:r>
          </a:p>
        </p:txBody>
      </p:sp>
      <p:pic>
        <p:nvPicPr>
          <p:cNvPr id="17455" name="Picture 40"/>
          <p:cNvPicPr>
            <a:picLocks noChangeAspect="1" noChangeArrowheads="1"/>
          </p:cNvPicPr>
          <p:nvPr>
            <p:custDataLst>
              <p:tags r:id="rId45"/>
            </p:custDataLst>
          </p:nvPr>
        </p:nvPicPr>
        <p:blipFill>
          <a:blip r:embed="rId71">
            <a:extLst>
              <a:ext uri="{28A0092B-C50C-407E-A947-70E740481C1C}">
                <a14:useLocalDpi xmlns:a14="http://schemas.microsoft.com/office/drawing/2010/main" val="0"/>
              </a:ext>
            </a:extLst>
          </a:blip>
          <a:srcRect/>
          <a:stretch>
            <a:fillRect/>
          </a:stretch>
        </p:blipFill>
        <p:spPr bwMode="auto">
          <a:xfrm>
            <a:off x="6892925" y="4435475"/>
            <a:ext cx="8001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56" name="Picture 58"/>
          <p:cNvPicPr>
            <a:picLocks noChangeAspect="1" noChangeArrowheads="1"/>
          </p:cNvPicPr>
          <p:nvPr>
            <p:custDataLst>
              <p:tags r:id="rId46"/>
            </p:custDataLst>
          </p:nvPr>
        </p:nvPicPr>
        <p:blipFill>
          <a:blip r:embed="rId72">
            <a:extLst>
              <a:ext uri="{28A0092B-C50C-407E-A947-70E740481C1C}">
                <a14:useLocalDpi xmlns:a14="http://schemas.microsoft.com/office/drawing/2010/main" val="0"/>
              </a:ext>
            </a:extLst>
          </a:blip>
          <a:srcRect/>
          <a:stretch>
            <a:fillRect/>
          </a:stretch>
        </p:blipFill>
        <p:spPr bwMode="auto">
          <a:xfrm>
            <a:off x="6821488" y="3584575"/>
            <a:ext cx="83185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7457" name="Rectangle 59" hidden="1"/>
          <p:cNvGraphicFramePr>
            <a:graphicFrameLocks/>
          </p:cNvGraphicFramePr>
          <p:nvPr>
            <p:custDataLst>
              <p:tags r:id="rId4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79" r:id="rId73" imgW="0" imgH="0" progId="">
                  <p:embed/>
                </p:oleObj>
              </mc:Choice>
              <mc:Fallback>
                <p:oleObj r:id="rId73" imgW="0" imgH="0" progId="">
                  <p:embed/>
                  <p:pic>
                    <p:nvPicPr>
                      <p:cNvPr id="0" name="Rectangle 59"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7458" name="Object 6"/>
          <p:cNvGraphicFramePr>
            <a:graphicFrameLocks noChangeAspect="1"/>
          </p:cNvGraphicFramePr>
          <p:nvPr>
            <p:custDataLst>
              <p:tags r:id="rId48"/>
            </p:custDataLst>
          </p:nvPr>
        </p:nvGraphicFramePr>
        <p:xfrm>
          <a:off x="395288" y="5014913"/>
          <a:ext cx="4321175" cy="1582737"/>
        </p:xfrm>
        <a:graphic>
          <a:graphicData uri="http://schemas.openxmlformats.org/presentationml/2006/ole">
            <mc:AlternateContent xmlns:mc="http://schemas.openxmlformats.org/markup-compatibility/2006">
              <mc:Choice xmlns:v="urn:schemas-microsoft-com:vml" Requires="v">
                <p:oleObj spid="_x0000_s17480" name="Chart" r:id="rId74" imgW="10839551" imgH="4343400" progId="MSGraph.Chart.8">
                  <p:embed followColorScheme="full"/>
                </p:oleObj>
              </mc:Choice>
              <mc:Fallback>
                <p:oleObj name="Chart" r:id="rId74" imgW="10839551" imgH="4343400" progId="MSGraph.Chart.8">
                  <p:embed followColorScheme="full"/>
                  <p:pic>
                    <p:nvPicPr>
                      <p:cNvPr id="0" name="Object 6"/>
                      <p:cNvPicPr>
                        <a:picLocks noChangeAspect="1"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395288" y="5014913"/>
                        <a:ext cx="4321175" cy="158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bg1"/>
                            </a:solidFill>
                            <a:miter lim="800000"/>
                            <a:headEnd/>
                            <a:tailEnd/>
                          </a14:hiddenLine>
                        </a:ext>
                      </a:extLst>
                    </p:spPr>
                  </p:pic>
                </p:oleObj>
              </mc:Fallback>
            </mc:AlternateContent>
          </a:graphicData>
        </a:graphic>
      </p:graphicFrame>
      <p:sp>
        <p:nvSpPr>
          <p:cNvPr id="17459" name="Oval 10"/>
          <p:cNvSpPr>
            <a:spLocks noChangeArrowheads="1"/>
          </p:cNvSpPr>
          <p:nvPr>
            <p:custDataLst>
              <p:tags r:id="rId49"/>
            </p:custDataLst>
          </p:nvPr>
        </p:nvSpPr>
        <p:spPr bwMode="auto">
          <a:xfrm>
            <a:off x="3475038" y="4992688"/>
            <a:ext cx="384175" cy="388937"/>
          </a:xfrm>
          <a:prstGeom prst="ellipse">
            <a:avLst/>
          </a:prstGeom>
          <a:noFill/>
          <a:ln w="9525" algn="ctr">
            <a:solidFill>
              <a:srgbClr val="FF9900"/>
            </a:solidFill>
            <a:round/>
            <a:headEnd/>
            <a:tailEnd/>
          </a:ln>
          <a:extLst>
            <a:ext uri="{909E8E84-426E-40DD-AFC4-6F175D3DCCD1}">
              <a14:hiddenFill xmlns:a14="http://schemas.microsoft.com/office/drawing/2010/main">
                <a:solidFill>
                  <a:srgbClr val="FFFFFF"/>
                </a:solidFill>
              </a14:hiddenFill>
            </a:ext>
          </a:extLst>
        </p:spPr>
        <p:txBody>
          <a:bodyPr lIns="79200" tIns="39600" rIns="79200" bIns="39600" anchor="ctr">
            <a:spAutoFit/>
          </a:bodyPr>
          <a:lstStyle/>
          <a:p>
            <a:endParaRPr lang="zh-CN" altLang="en-US" sz="1400" b="0">
              <a:solidFill>
                <a:schemeClr val="bg1"/>
              </a:solidFill>
              <a:latin typeface="FrutigerNext LT Regular"/>
              <a:ea typeface="华文细黑" pitchFamily="2" charset="-122"/>
            </a:endParaRPr>
          </a:p>
        </p:txBody>
      </p:sp>
      <p:sp>
        <p:nvSpPr>
          <p:cNvPr id="17460" name="Oval 11"/>
          <p:cNvSpPr>
            <a:spLocks noChangeArrowheads="1"/>
          </p:cNvSpPr>
          <p:nvPr>
            <p:custDataLst>
              <p:tags r:id="rId50"/>
            </p:custDataLst>
          </p:nvPr>
        </p:nvSpPr>
        <p:spPr bwMode="auto">
          <a:xfrm>
            <a:off x="3670300" y="5537200"/>
            <a:ext cx="385763" cy="388938"/>
          </a:xfrm>
          <a:prstGeom prst="ellipse">
            <a:avLst/>
          </a:prstGeom>
          <a:noFill/>
          <a:ln w="952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lIns="79200" tIns="39600" rIns="79200" bIns="39600" anchor="ctr">
            <a:spAutoFit/>
          </a:bodyPr>
          <a:lstStyle/>
          <a:p>
            <a:endParaRPr lang="zh-CN" altLang="en-US" sz="1400" b="0">
              <a:solidFill>
                <a:schemeClr val="bg1"/>
              </a:solidFill>
              <a:latin typeface="FrutigerNext LT Regular"/>
              <a:ea typeface="华文细黑" pitchFamily="2" charset="-122"/>
            </a:endParaRPr>
          </a:p>
        </p:txBody>
      </p:sp>
      <p:sp>
        <p:nvSpPr>
          <p:cNvPr id="17461" name="Text Box 63"/>
          <p:cNvSpPr txBox="1">
            <a:spLocks noChangeArrowheads="1"/>
          </p:cNvSpPr>
          <p:nvPr>
            <p:custDataLst>
              <p:tags r:id="rId51"/>
            </p:custDataLst>
          </p:nvPr>
        </p:nvSpPr>
        <p:spPr bwMode="auto">
          <a:xfrm>
            <a:off x="1322388" y="5124450"/>
            <a:ext cx="973137" cy="293688"/>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266700" indent="-266700"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nSpc>
                <a:spcPct val="110000"/>
              </a:lnSpc>
              <a:spcBef>
                <a:spcPct val="50000"/>
              </a:spcBef>
              <a:buClr>
                <a:srgbClr val="0000CC"/>
              </a:buClr>
              <a:buFont typeface="Wingdings" pitchFamily="2" charset="2"/>
              <a:buNone/>
            </a:pPr>
            <a:r>
              <a:rPr lang="zh-CN" altLang="en-US"/>
              <a:t>云计算服务</a:t>
            </a:r>
          </a:p>
        </p:txBody>
      </p:sp>
      <p:sp>
        <p:nvSpPr>
          <p:cNvPr id="890944" name="Rectangle 64"/>
          <p:cNvSpPr>
            <a:spLocks noChangeArrowheads="1"/>
          </p:cNvSpPr>
          <p:nvPr>
            <p:custDataLst>
              <p:tags r:id="rId52"/>
            </p:custDataLst>
          </p:nvPr>
        </p:nvSpPr>
        <p:spPr bwMode="auto">
          <a:xfrm>
            <a:off x="1201738" y="5192713"/>
            <a:ext cx="122237" cy="125412"/>
          </a:xfrm>
          <a:prstGeom prst="rect">
            <a:avLst/>
          </a:prstGeom>
          <a:solidFill>
            <a:schemeClr val="accent1"/>
          </a:solidFill>
          <a:ln w="9525" algn="ctr">
            <a:noFill/>
            <a:miter lim="800000"/>
            <a:headEnd/>
            <a:tailEnd/>
          </a:ln>
          <a:effectLst>
            <a:prstShdw prst="shdw17" dist="17961" dir="2700000">
              <a:schemeClr val="accent1">
                <a:gamma/>
                <a:shade val="60000"/>
                <a:invGamma/>
                <a:alpha val="50000"/>
              </a:schemeClr>
            </a:prstShdw>
          </a:effectLst>
        </p:spPr>
        <p:txBody>
          <a:bodyPr wrap="none" anchor="ctr"/>
          <a:lstStyle/>
          <a:p>
            <a:pPr marL="266700" indent="-266700" algn="ctr" eaLnBrk="0" hangingPunct="0">
              <a:lnSpc>
                <a:spcPct val="110000"/>
              </a:lnSpc>
              <a:spcBef>
                <a:spcPct val="30000"/>
              </a:spcBef>
              <a:buClr>
                <a:srgbClr val="0000CC"/>
              </a:buClr>
              <a:buFont typeface="Wingdings" pitchFamily="2" charset="2"/>
              <a:buNone/>
              <a:defRPr/>
            </a:pPr>
            <a:endParaRPr lang="en-US" sz="1800">
              <a:cs typeface="Tahoma" pitchFamily="34" charset="0"/>
            </a:endParaRPr>
          </a:p>
        </p:txBody>
      </p:sp>
      <p:sp>
        <p:nvSpPr>
          <p:cNvPr id="17463" name="Text Box 65"/>
          <p:cNvSpPr txBox="1">
            <a:spLocks noChangeArrowheads="1"/>
          </p:cNvSpPr>
          <p:nvPr>
            <p:custDataLst>
              <p:tags r:id="rId53"/>
            </p:custDataLst>
          </p:nvPr>
        </p:nvSpPr>
        <p:spPr bwMode="auto">
          <a:xfrm>
            <a:off x="2417763" y="5124450"/>
            <a:ext cx="974725" cy="293688"/>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266700" indent="-266700" eaLnBrk="0" hangingPunct="0">
              <a:defRPr sz="1200" b="1">
                <a:solidFill>
                  <a:schemeClr val="tx1"/>
                </a:solidFill>
                <a:latin typeface="微软雅黑" pitchFamily="34" charset="-122"/>
                <a:ea typeface="微软雅黑" pitchFamily="34" charset="-122"/>
              </a:defRPr>
            </a:lvl1pPr>
            <a:lvl2pPr marL="742950" indent="-285750" eaLnBrk="0" hangingPunct="0">
              <a:defRPr sz="1200" b="1">
                <a:solidFill>
                  <a:schemeClr val="tx1"/>
                </a:solidFill>
                <a:latin typeface="微软雅黑" pitchFamily="34" charset="-122"/>
                <a:ea typeface="微软雅黑" pitchFamily="34" charset="-122"/>
              </a:defRPr>
            </a:lvl2pPr>
            <a:lvl3pPr marL="1143000" indent="-228600" eaLnBrk="0" hangingPunct="0">
              <a:defRPr sz="1200" b="1">
                <a:solidFill>
                  <a:schemeClr val="tx1"/>
                </a:solidFill>
                <a:latin typeface="微软雅黑" pitchFamily="34" charset="-122"/>
                <a:ea typeface="微软雅黑" pitchFamily="34" charset="-122"/>
              </a:defRPr>
            </a:lvl3pPr>
            <a:lvl4pPr marL="1600200" indent="-228600" eaLnBrk="0" hangingPunct="0">
              <a:defRPr sz="1200" b="1">
                <a:solidFill>
                  <a:schemeClr val="tx1"/>
                </a:solidFill>
                <a:latin typeface="微软雅黑" pitchFamily="34" charset="-122"/>
                <a:ea typeface="微软雅黑" pitchFamily="34" charset="-122"/>
              </a:defRPr>
            </a:lvl4pPr>
            <a:lvl5pPr marL="2057400" indent="-228600" eaLnBrk="0" hangingPunct="0">
              <a:defRPr sz="1200" b="1">
                <a:solidFill>
                  <a:schemeClr val="tx1"/>
                </a:solidFill>
                <a:latin typeface="微软雅黑" pitchFamily="34" charset="-122"/>
                <a:ea typeface="微软雅黑" pitchFamily="34" charset="-122"/>
              </a:defRPr>
            </a:lvl5pPr>
            <a:lvl6pPr marL="25146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6pPr>
            <a:lvl7pPr marL="29718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7pPr>
            <a:lvl8pPr marL="34290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8pPr>
            <a:lvl9pPr marL="3886200" indent="-228600" eaLnBrk="0" fontAlgn="base" hangingPunct="0">
              <a:spcBef>
                <a:spcPct val="0"/>
              </a:spcBef>
              <a:spcAft>
                <a:spcPct val="0"/>
              </a:spcAft>
              <a:defRPr sz="1200" b="1">
                <a:solidFill>
                  <a:schemeClr val="tx1"/>
                </a:solidFill>
                <a:latin typeface="微软雅黑" pitchFamily="34" charset="-122"/>
                <a:ea typeface="微软雅黑" pitchFamily="34" charset="-122"/>
              </a:defRPr>
            </a:lvl9pPr>
          </a:lstStyle>
          <a:p>
            <a:pPr>
              <a:lnSpc>
                <a:spcPct val="110000"/>
              </a:lnSpc>
              <a:spcBef>
                <a:spcPct val="50000"/>
              </a:spcBef>
              <a:buClr>
                <a:srgbClr val="0000CC"/>
              </a:buClr>
              <a:buFont typeface="Wingdings" pitchFamily="2" charset="2"/>
              <a:buNone/>
            </a:pPr>
            <a:r>
              <a:rPr lang="en-US" altLang="zh-CN"/>
              <a:t>IaaS</a:t>
            </a:r>
          </a:p>
        </p:txBody>
      </p:sp>
      <p:sp>
        <p:nvSpPr>
          <p:cNvPr id="890946" name="Rectangle 66"/>
          <p:cNvSpPr>
            <a:spLocks noChangeArrowheads="1"/>
          </p:cNvSpPr>
          <p:nvPr>
            <p:custDataLst>
              <p:tags r:id="rId54"/>
            </p:custDataLst>
          </p:nvPr>
        </p:nvSpPr>
        <p:spPr bwMode="auto">
          <a:xfrm>
            <a:off x="2297113" y="5192713"/>
            <a:ext cx="122237" cy="125412"/>
          </a:xfrm>
          <a:prstGeom prst="rect">
            <a:avLst/>
          </a:prstGeom>
          <a:solidFill>
            <a:schemeClr val="accent2"/>
          </a:solidFill>
          <a:ln w="9525" algn="ctr">
            <a:noFill/>
            <a:miter lim="800000"/>
            <a:headEnd/>
            <a:tailEnd/>
          </a:ln>
          <a:effectLst>
            <a:prstShdw prst="shdw17" dist="17961" dir="2700000">
              <a:schemeClr val="accent2">
                <a:gamma/>
                <a:shade val="60000"/>
                <a:invGamma/>
                <a:alpha val="50000"/>
              </a:schemeClr>
            </a:prstShdw>
          </a:effectLst>
        </p:spPr>
        <p:txBody>
          <a:bodyPr wrap="none" anchor="ctr"/>
          <a:lstStyle/>
          <a:p>
            <a:pPr marL="266700" indent="-266700" algn="ctr" eaLnBrk="0" hangingPunct="0">
              <a:lnSpc>
                <a:spcPct val="110000"/>
              </a:lnSpc>
              <a:spcBef>
                <a:spcPct val="30000"/>
              </a:spcBef>
              <a:buClr>
                <a:srgbClr val="0000CC"/>
              </a:buClr>
              <a:buFont typeface="Wingdings" pitchFamily="2" charset="2"/>
              <a:buNone/>
              <a:defRPr/>
            </a:pPr>
            <a:endParaRPr lang="en-US" sz="1800">
              <a:cs typeface="Tahoma" pitchFamily="34" charset="0"/>
            </a:endParaRPr>
          </a:p>
        </p:txBody>
      </p:sp>
      <p:sp>
        <p:nvSpPr>
          <p:cNvPr id="17465" name="Line 67"/>
          <p:cNvSpPr>
            <a:spLocks noChangeShapeType="1"/>
          </p:cNvSpPr>
          <p:nvPr/>
        </p:nvSpPr>
        <p:spPr bwMode="auto">
          <a:xfrm flipV="1">
            <a:off x="1952625" y="5459413"/>
            <a:ext cx="711200" cy="315912"/>
          </a:xfrm>
          <a:prstGeom prst="line">
            <a:avLst/>
          </a:prstGeom>
          <a:noFill/>
          <a:ln w="9525">
            <a:solidFill>
              <a:srgbClr val="FF0000"/>
            </a:solidFill>
            <a:round/>
            <a:headEnd/>
            <a:tailEnd type="triangle" w="med" len="med"/>
          </a:ln>
          <a:effectLst>
            <a:prstShdw prst="shdw17" dist="17961" dir="2700000">
              <a:srgbClr val="990000">
                <a:alpha val="50000"/>
              </a:srgbClr>
            </a:prstShdw>
          </a:effectLst>
          <a:extLst>
            <a:ext uri="{909E8E84-426E-40DD-AFC4-6F175D3DCCD1}">
              <a14:hiddenFill xmlns:a14="http://schemas.microsoft.com/office/drawing/2010/main">
                <a:noFill/>
              </a14:hiddenFill>
            </a:ext>
          </a:extLst>
        </p:spPr>
        <p:txBody>
          <a:bodyPr/>
          <a:lstStyle/>
          <a:p>
            <a:endParaRPr lang="zh-CN" altLang="en-US"/>
          </a:p>
        </p:txBody>
      </p:sp>
      <p:sp>
        <p:nvSpPr>
          <p:cNvPr id="17466" name="Oval 68"/>
          <p:cNvSpPr>
            <a:spLocks noChangeArrowheads="1"/>
          </p:cNvSpPr>
          <p:nvPr/>
        </p:nvSpPr>
        <p:spPr bwMode="auto">
          <a:xfrm>
            <a:off x="2124075" y="5459413"/>
            <a:ext cx="450850" cy="274637"/>
          </a:xfrm>
          <a:prstGeom prst="ellipse">
            <a:avLst/>
          </a:prstGeom>
          <a:solidFill>
            <a:srgbClr val="FF0000"/>
          </a:solidFill>
          <a:ln>
            <a:noFill/>
          </a:ln>
          <a:effectLst>
            <a:prstShdw prst="shdw17" dist="17961" dir="2700000">
              <a:srgbClr val="990000">
                <a:alpha val="50000"/>
              </a:srgbClr>
            </a:prstShdw>
          </a:effectLst>
          <a:extLst>
            <a:ext uri="{91240B29-F687-4F45-9708-019B960494DF}">
              <a14:hiddenLine xmlns:a14="http://schemas.microsoft.com/office/drawing/2010/main" w="9525" algn="ctr">
                <a:solidFill>
                  <a:srgbClr val="000000"/>
                </a:solidFill>
                <a:round/>
                <a:headEnd/>
                <a:tailEnd/>
              </a14:hiddenLine>
            </a:ext>
          </a:extLst>
        </p:spPr>
        <p:txBody>
          <a:bodyPr wrap="none" anchor="ctr"/>
          <a:lstStyle/>
          <a:p>
            <a:pPr marL="266700" indent="-266700" algn="ctr" eaLnBrk="0" hangingPunct="0">
              <a:lnSpc>
                <a:spcPct val="110000"/>
              </a:lnSpc>
              <a:spcBef>
                <a:spcPct val="30000"/>
              </a:spcBef>
              <a:buClr>
                <a:srgbClr val="0000CC"/>
              </a:buClr>
              <a:buFont typeface="Wingdings" pitchFamily="2" charset="2"/>
              <a:buNone/>
            </a:pPr>
            <a:r>
              <a:rPr lang="en-US" altLang="zh-CN" sz="1400">
                <a:solidFill>
                  <a:schemeClr val="bg1"/>
                </a:solidFill>
              </a:rPr>
              <a:t>22%</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89&quot;/&gt;&lt;partner val=&quot;53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1&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2147483647&quot;/&gt;&lt;/m_precDefault&gt;&lt;/CDefaultPrec&gt;&lt;/root&gt;"/>
  <p:tag name="THINKCELLUNDODONOTDELETE" val="20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Ev6FG5WaEyQ0r_fITNo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NyOnP6PhkmXzBFwjrrZ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FUPTxBbUmDCPgf_2Me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1LCuMXVQ0ugsrk1H1Ew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YqzSYA92EySD8Y2edtA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ISfGXTrSEmlqmTwQmeE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VerjbKeJEO3.Dm3qfGi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4KNv8T3bUinzv0wTcgU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fTFel5TXkKvNb6wRmO5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G7IwqtsOE2J3kqxTWsT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zQWBnp4bUmrvH0fFKCo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xUhs3gVEUqqN8nxVMHe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T3pBoS0z0CEVepP0ojb9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_nlx48ew0yjzBRbIg0V3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g10UdBXw0WiVtIR0HlM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6.cBgHVs0Kexq6eJ0DD_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tPEzQ5tD0uF3el36myD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Pg5LsIuE0mE1GZvrloC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9eMCifxlEWqDl4PYsu3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rpPP3U8l0quYOoITzVs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OLCqQYUd0uvNe9smtgT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7gFqoeBNUOupuSUhtdhV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EV7T7pqqUy_198qFQZB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xSEtoxVPPkm6Wrr4ZV_4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S70AJBS8kCpPYuWe0Fc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JUxzCbqL0aDnuboXB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yche5Q5XU.Bkw_bKBdG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s2lOL4Vb0SyrbFKjq2fH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NffYd1jHkGMiONPxdCu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V85kXabb02u4kGHN_.R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AIWlJtXYEquTPAlyyHr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zQWBnp4bUmrvH0fFKCo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aJxPxjdpkyIqtkGzRONr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QnP6gNUxU6tHz4k64Hm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7gFqoeBNUOupuSUhtdhV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L6tf_J3kqajyaZbnO1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2WLd_NHY5U2aqt9a83HB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xpOzOzQqUKt6korM8TT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VPpUKCdD0W_.sZC8rPbQ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jjfLlIZ102N2us8fUN9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3n6OLFZkUCsyPXV4Jwp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335hwU.7UijJNGkqI8h3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EUHVe35mUeuPvW8PgfUn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PkE3zN2AkG7K11iT4hNz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rvakhbz60atCmP5rGwgz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P9X4r7j2EmcSsokuvcV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WzCq7GQyUOfdhFT9BIt7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9QNgl1KW8EKfrAYSJD5N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ta_SD3OW06EXnKzB_K4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1bFvQ4b9kKZ7..xi.hK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xNp_Y6r6kqyeasiVlThj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SE5CpLDykqaqvqWGVWfN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2dtLzCZvUuvAsz.m70z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ttc8q9mHki8eZ7ZcxBHd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9kSx_TlhxE2Xrk7XRfKXz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ExNp_Y6r6kqyeasiVlThj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9kSx_TlhxE2Xrk7XRfKX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XSXvk3zAUanN3I0Zx1y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CBvtGtNQ06RQagyr6a5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P93Oa_9Q0e6cJxXBk9n5A"/>
</p:tagLst>
</file>

<file path=ppt/theme/theme1.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宋体"/>
        <a:cs typeface=""/>
      </a:majorFont>
      <a:minorFont>
        <a:latin typeface="黑体"/>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900"/>
        </a:solidFill>
        <a:ln>
          <a:solidFill>
            <a:srgbClr val="0099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默认设计模板">
  <a:themeElements>
    <a:clrScheme name="3_默认设计模板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3_默认设计模板">
      <a:majorFont>
        <a:latin typeface="华文细黑"/>
        <a:ea typeface="宋体"/>
        <a:cs typeface=""/>
      </a:majorFont>
      <a:minorFont>
        <a:latin typeface="Times New Roman"/>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默认设计模板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默认设计模板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默认设计模板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默认设计模板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默认设计模板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默认设计模板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默认设计模板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默认设计模板">
  <a:themeElements>
    <a:clrScheme name="4_默认设计模板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4_默认设计模板">
      <a:majorFont>
        <a:latin typeface="华文细黑"/>
        <a:ea typeface="华文细黑"/>
        <a:cs typeface=""/>
      </a:majorFont>
      <a:minorFont>
        <a:latin typeface="Times New Roman"/>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默认设计模板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4_默认设计模板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4_默认设计模板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4_默认设计模板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4_默认设计模板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4_默认设计模板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4_默认设计模板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主题5">
  <a:themeElements>
    <a:clrScheme name="主题5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主题5">
      <a:majorFont>
        <a:latin typeface="Arial"/>
        <a:ea typeface="微软雅黑"/>
        <a:cs typeface="Arial"/>
      </a:majorFont>
      <a:minorFont>
        <a:latin typeface="黑体"/>
        <a:ea typeface="微软雅黑"/>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主题5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主题5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主题5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主题5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主题5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主题5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主题5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主题5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主题5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主题5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主题5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主题5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6653</TotalTime>
  <Words>6593</Words>
  <Application>Microsoft Office PowerPoint</Application>
  <PresentationFormat>全屏显示(4:3)</PresentationFormat>
  <Paragraphs>408</Paragraphs>
  <Slides>32</Slides>
  <Notes>18</Notes>
  <HiddenSlides>0</HiddenSlides>
  <MMClips>0</MMClips>
  <ScaleCrop>false</ScaleCrop>
  <HeadingPairs>
    <vt:vector size="8" baseType="variant">
      <vt:variant>
        <vt:lpstr>已用的字体</vt:lpstr>
      </vt:variant>
      <vt:variant>
        <vt:i4>19</vt:i4>
      </vt:variant>
      <vt:variant>
        <vt:lpstr>主题</vt:lpstr>
      </vt:variant>
      <vt:variant>
        <vt:i4>4</vt:i4>
      </vt:variant>
      <vt:variant>
        <vt:lpstr>嵌入 OLE 服务器</vt:lpstr>
      </vt:variant>
      <vt:variant>
        <vt:i4>3</vt:i4>
      </vt:variant>
      <vt:variant>
        <vt:lpstr>幻灯片标题</vt:lpstr>
      </vt:variant>
      <vt:variant>
        <vt:i4>32</vt:i4>
      </vt:variant>
    </vt:vector>
  </HeadingPairs>
  <TitlesOfParts>
    <vt:vector size="58" baseType="lpstr">
      <vt:lpstr>微软雅黑</vt:lpstr>
      <vt:lpstr>Arial</vt:lpstr>
      <vt:lpstr>Tahoma</vt:lpstr>
      <vt:lpstr>Wingdings</vt:lpstr>
      <vt:lpstr>宋体</vt:lpstr>
      <vt:lpstr>黑体</vt:lpstr>
      <vt:lpstr>华文细黑</vt:lpstr>
      <vt:lpstr>Times New Roman</vt:lpstr>
      <vt:lpstr>华文楷体</vt:lpstr>
      <vt:lpstr>华文中宋</vt:lpstr>
      <vt:lpstr>Cambria</vt:lpstr>
      <vt:lpstr>Arial Narrow</vt:lpstr>
      <vt:lpstr>仿宋_GB2312</vt:lpstr>
      <vt:lpstr>FrutigerNext LT Regular</vt:lpstr>
      <vt:lpstr>新宋体-18030</vt:lpstr>
      <vt:lpstr>Palatino Linotype</vt:lpstr>
      <vt:lpstr>Verdana</vt:lpstr>
      <vt:lpstr>Calibri</vt:lpstr>
      <vt:lpstr>Wingdings 3</vt:lpstr>
      <vt:lpstr>默认设计模板</vt:lpstr>
      <vt:lpstr>3_默认设计模板</vt:lpstr>
      <vt:lpstr>4_默认设计模板</vt:lpstr>
      <vt:lpstr>主题5</vt:lpstr>
      <vt:lpstr>CorelDRAW</vt:lpstr>
      <vt:lpstr>Chart</vt:lpstr>
      <vt:lpstr>Adobe Photoshop Image</vt:lpstr>
      <vt:lpstr>目录</vt:lpstr>
      <vt:lpstr>云计算起源</vt:lpstr>
      <vt:lpstr>云计算 – NIST定义</vt:lpstr>
      <vt:lpstr>云计算原理</vt:lpstr>
      <vt:lpstr> 云计算的特点</vt:lpstr>
      <vt:lpstr>目录</vt:lpstr>
      <vt:lpstr>云计算产业架构</vt:lpstr>
      <vt:lpstr>云计算产业发展现状</vt:lpstr>
      <vt:lpstr> 云计算市场概述</vt:lpstr>
      <vt:lpstr>云计算发展环境</vt:lpstr>
      <vt:lpstr>目录</vt:lpstr>
      <vt:lpstr>云计算标准化进展</vt:lpstr>
      <vt:lpstr>云计算标准化进展</vt:lpstr>
      <vt:lpstr>目录</vt:lpstr>
      <vt:lpstr>云计算技术架构</vt:lpstr>
      <vt:lpstr>云计算服务模式</vt:lpstr>
      <vt:lpstr>云计算基础设施关键技术——服务器技术</vt:lpstr>
      <vt:lpstr>服务器虚拟化技术分类</vt:lpstr>
      <vt:lpstr>X86服务器虚拟化技术架构</vt:lpstr>
      <vt:lpstr>云计算基础设施关键技术——存储技术</vt:lpstr>
      <vt:lpstr>存储虚拟化</vt:lpstr>
      <vt:lpstr>PowerPoint 演示文稿</vt:lpstr>
      <vt:lpstr>云计算基础设施关键技术——网络技术</vt:lpstr>
      <vt:lpstr>云计算基础设施关键技术——绿色数据中心</vt:lpstr>
      <vt:lpstr>IT部门借助云应对IT挑战</vt:lpstr>
      <vt:lpstr>云计算“操作系统”关键技术</vt:lpstr>
      <vt:lpstr>云计算资源池的管理目标架构</vt:lpstr>
      <vt:lpstr>分布式任务和数据管理技术</vt:lpstr>
      <vt:lpstr>目录</vt:lpstr>
      <vt:lpstr>国际运营商</vt:lpstr>
      <vt:lpstr>国内运营商</vt:lpstr>
      <vt:lpstr>PowerPoint 演示文稿</vt:lpstr>
    </vt:vector>
  </TitlesOfParts>
  <Company>cm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云计算在IDC中的应用研究结题报告</dc:title>
  <dc:creator>刘玲</dc:creator>
  <cp:lastModifiedBy>JonMMx 2000</cp:lastModifiedBy>
  <cp:revision>6720</cp:revision>
  <dcterms:created xsi:type="dcterms:W3CDTF">2006-01-17T03:19:27Z</dcterms:created>
  <dcterms:modified xsi:type="dcterms:W3CDTF">2019-01-23T11:14:09Z</dcterms:modified>
</cp:coreProperties>
</file>